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6DFD19-9071-4B24-AA88-5DC23F609659}" v="4837" dt="2022-11-18T03:44:08.36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lvyn Yovany Martinez Barahona" userId="3ccf779dc7355a40" providerId="LiveId" clId="{176DFD19-9071-4B24-AA88-5DC23F609659}"/>
    <pc:docChg chg="undo custSel modSld replTag">
      <pc:chgData name="Selvyn Yovany Martinez Barahona" userId="3ccf779dc7355a40" providerId="LiveId" clId="{176DFD19-9071-4B24-AA88-5DC23F609659}" dt="2022-11-18T03:44:08.363" v="10700"/>
      <pc:docMkLst>
        <pc:docMk/>
      </pc:docMkLst>
      <pc:sldChg chg="addSp delSp modSp mod">
        <pc:chgData name="Selvyn Yovany Martinez Barahona" userId="3ccf779dc7355a40" providerId="LiveId" clId="{176DFD19-9071-4B24-AA88-5DC23F609659}" dt="2022-11-18T03:44:08.363" v="10700"/>
        <pc:sldMkLst>
          <pc:docMk/>
          <pc:sldMk cId="849266544" sldId="256"/>
        </pc:sldMkLst>
        <pc:spChg chg="add del mod modVis">
          <ac:chgData name="Selvyn Yovany Martinez Barahona" userId="3ccf779dc7355a40" providerId="LiveId" clId="{176DFD19-9071-4B24-AA88-5DC23F609659}" dt="2022-11-08T05:29:39.210" v="2836"/>
          <ac:spMkLst>
            <pc:docMk/>
            <pc:sldMk cId="849266544" sldId="256"/>
            <ac:spMk id="2" creationId="{142B63F9-4705-DEFE-E463-E546F7705356}"/>
          </ac:spMkLst>
        </pc:spChg>
        <pc:spChg chg="add del mod modVis">
          <ac:chgData name="Selvyn Yovany Martinez Barahona" userId="3ccf779dc7355a40" providerId="LiveId" clId="{176DFD19-9071-4B24-AA88-5DC23F609659}" dt="2022-11-18T02:51:20.188" v="3155"/>
          <ac:spMkLst>
            <pc:docMk/>
            <pc:sldMk cId="849266544" sldId="256"/>
            <ac:spMk id="2" creationId="{1E2808E5-45EF-3B51-6F1E-1BA389E28C0E}"/>
          </ac:spMkLst>
        </pc:spChg>
        <pc:spChg chg="add del mod modVis">
          <ac:chgData name="Selvyn Yovany Martinez Barahona" userId="3ccf779dc7355a40" providerId="LiveId" clId="{176DFD19-9071-4B24-AA88-5DC23F609659}" dt="2022-11-18T02:51:41.050" v="3658"/>
          <ac:spMkLst>
            <pc:docMk/>
            <pc:sldMk cId="849266544" sldId="256"/>
            <ac:spMk id="6" creationId="{7D7C7BDE-CF4E-3E46-CA82-030189DEED17}"/>
          </ac:spMkLst>
        </pc:spChg>
        <pc:spChg chg="add del mod ord replST">
          <ac:chgData name="Selvyn Yovany Martinez Barahona" userId="3ccf779dc7355a40" providerId="LiveId" clId="{176DFD19-9071-4B24-AA88-5DC23F609659}" dt="2022-11-18T02:51:54.858" v="3925"/>
          <ac:spMkLst>
            <pc:docMk/>
            <pc:sldMk cId="849266544" sldId="256"/>
            <ac:spMk id="7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18T02:51:54.859" v="3927"/>
          <ac:spMkLst>
            <pc:docMk/>
            <pc:sldMk cId="849266544" sldId="256"/>
            <ac:spMk id="8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18T02:51:54.860" v="3929"/>
          <ac:spMkLst>
            <pc:docMk/>
            <pc:sldMk cId="849266544" sldId="256"/>
            <ac:spMk id="10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18T02:51:54.861" v="3931"/>
          <ac:spMkLst>
            <pc:docMk/>
            <pc:sldMk cId="849266544" sldId="256"/>
            <ac:spMk id="11" creationId="{F01B8698-9294-F532-DDB4-2EE198CBAA21}"/>
          </ac:spMkLst>
        </pc:spChg>
        <pc:spChg chg="add del mod modVis">
          <ac:chgData name="Selvyn Yovany Martinez Barahona" userId="3ccf779dc7355a40" providerId="LiveId" clId="{176DFD19-9071-4B24-AA88-5DC23F609659}" dt="2022-11-18T02:51:54.880" v="3991"/>
          <ac:spMkLst>
            <pc:docMk/>
            <pc:sldMk cId="849266544" sldId="256"/>
            <ac:spMk id="16" creationId="{03F1CCC7-BCC5-9FAB-DB0A-33B2304DE452}"/>
          </ac:spMkLst>
        </pc:spChg>
        <pc:spChg chg="add del mod modVis">
          <ac:chgData name="Selvyn Yovany Martinez Barahona" userId="3ccf779dc7355a40" providerId="LiveId" clId="{176DFD19-9071-4B24-AA88-5DC23F609659}" dt="2022-11-18T02:51:59.071" v="4288"/>
          <ac:spMkLst>
            <pc:docMk/>
            <pc:sldMk cId="849266544" sldId="256"/>
            <ac:spMk id="20" creationId="{ABAB4E0A-FFBC-AEB5-D2DF-3F6F2FDA765E}"/>
          </ac:spMkLst>
        </pc:spChg>
        <pc:spChg chg="add del mod modVis">
          <ac:chgData name="Selvyn Yovany Martinez Barahona" userId="3ccf779dc7355a40" providerId="LiveId" clId="{176DFD19-9071-4B24-AA88-5DC23F609659}" dt="2022-11-18T03:03:20.416" v="4791"/>
          <ac:spMkLst>
            <pc:docMk/>
            <pc:sldMk cId="849266544" sldId="256"/>
            <ac:spMk id="23" creationId="{537012DD-9438-A4D8-7FB1-27968E57FD47}"/>
          </ac:spMkLst>
        </pc:spChg>
        <pc:spChg chg="add mod ord replST">
          <ac:chgData name="Selvyn Yovany Martinez Barahona" userId="3ccf779dc7355a40" providerId="LiveId" clId="{176DFD19-9071-4B24-AA88-5DC23F609659}" dt="2022-11-18T03:44:08.352" v="10650"/>
          <ac:spMkLst>
            <pc:docMk/>
            <pc:sldMk cId="849266544" sldId="256"/>
            <ac:spMk id="24" creationId="{F01B8698-9294-F532-DDB4-2EE198CBAA21}"/>
          </ac:spMkLst>
        </pc:spChg>
        <pc:spChg chg="add mod ord replST">
          <ac:chgData name="Selvyn Yovany Martinez Barahona" userId="3ccf779dc7355a40" providerId="LiveId" clId="{176DFD19-9071-4B24-AA88-5DC23F609659}" dt="2022-11-18T03:44:08.352" v="10652"/>
          <ac:spMkLst>
            <pc:docMk/>
            <pc:sldMk cId="849266544" sldId="256"/>
            <ac:spMk id="25" creationId="{F01B8698-9294-F532-DDB4-2EE198CBAA21}"/>
          </ac:spMkLst>
        </pc:spChg>
        <pc:spChg chg="add mod ord replST">
          <ac:chgData name="Selvyn Yovany Martinez Barahona" userId="3ccf779dc7355a40" providerId="LiveId" clId="{176DFD19-9071-4B24-AA88-5DC23F609659}" dt="2022-11-18T03:44:08.351" v="10648"/>
          <ac:spMkLst>
            <pc:docMk/>
            <pc:sldMk cId="849266544" sldId="256"/>
            <ac:spMk id="26" creationId="{F01B8698-9294-F532-DDB4-2EE198CBAA21}"/>
          </ac:spMkLst>
        </pc:spChg>
        <pc:spChg chg="add mod ord replST">
          <ac:chgData name="Selvyn Yovany Martinez Barahona" userId="3ccf779dc7355a40" providerId="LiveId" clId="{176DFD19-9071-4B24-AA88-5DC23F609659}" dt="2022-11-18T03:44:08.352" v="10654"/>
          <ac:spMkLst>
            <pc:docMk/>
            <pc:sldMk cId="849266544" sldId="256"/>
            <ac:spMk id="27" creationId="{F01B8698-9294-F532-DDB4-2EE198CBAA21}"/>
          </ac:spMkLst>
        </pc:spChg>
        <pc:spChg chg="add del mod modVis">
          <ac:chgData name="Selvyn Yovany Martinez Barahona" userId="3ccf779dc7355a40" providerId="LiveId" clId="{176DFD19-9071-4B24-AA88-5DC23F609659}" dt="2022-11-18T03:03:35.791" v="5097"/>
          <ac:spMkLst>
            <pc:docMk/>
            <pc:sldMk cId="849266544" sldId="256"/>
            <ac:spMk id="31" creationId="{14FA6DD7-9A25-8003-0FF7-4BC9F01412EF}"/>
          </ac:spMkLst>
        </pc:spChg>
        <pc:spChg chg="add del mod modVis">
          <ac:chgData name="Selvyn Yovany Martinez Barahona" userId="3ccf779dc7355a40" providerId="LiveId" clId="{176DFD19-9071-4B24-AA88-5DC23F609659}" dt="2022-11-18T03:04:00.781" v="5320"/>
          <ac:spMkLst>
            <pc:docMk/>
            <pc:sldMk cId="849266544" sldId="256"/>
            <ac:spMk id="34" creationId="{028D805F-D0F7-A890-6EA0-8D7FCD616FC5}"/>
          </ac:spMkLst>
        </pc:spChg>
        <pc:spChg chg="add del mod modVis">
          <ac:chgData name="Selvyn Yovany Martinez Barahona" userId="3ccf779dc7355a40" providerId="LiveId" clId="{176DFD19-9071-4B24-AA88-5DC23F609659}" dt="2022-11-18T03:04:14.268" v="5456"/>
          <ac:spMkLst>
            <pc:docMk/>
            <pc:sldMk cId="849266544" sldId="256"/>
            <ac:spMk id="36" creationId="{FF2DE2FA-A918-A2D4-3E4A-51B219C19D1B}"/>
          </ac:spMkLst>
        </pc:spChg>
        <pc:spChg chg="add del mod modVis">
          <ac:chgData name="Selvyn Yovany Martinez Barahona" userId="3ccf779dc7355a40" providerId="LiveId" clId="{176DFD19-9071-4B24-AA88-5DC23F609659}" dt="2022-11-18T03:04:41.946" v="5679"/>
          <ac:spMkLst>
            <pc:docMk/>
            <pc:sldMk cId="849266544" sldId="256"/>
            <ac:spMk id="39" creationId="{B0FB9350-6BED-AAB0-242D-44EA8FEBCD45}"/>
          </ac:spMkLst>
        </pc:spChg>
        <pc:spChg chg="add del mod modVis">
          <ac:chgData name="Selvyn Yovany Martinez Barahona" userId="3ccf779dc7355a40" providerId="LiveId" clId="{176DFD19-9071-4B24-AA88-5DC23F609659}" dt="2022-11-18T03:04:52.984" v="5817"/>
          <ac:spMkLst>
            <pc:docMk/>
            <pc:sldMk cId="849266544" sldId="256"/>
            <ac:spMk id="41" creationId="{6377E8CB-98DC-EA82-2E74-7F53E52D0DCD}"/>
          </ac:spMkLst>
        </pc:spChg>
        <pc:spChg chg="add del mod modVis">
          <ac:chgData name="Selvyn Yovany Martinez Barahona" userId="3ccf779dc7355a40" providerId="LiveId" clId="{176DFD19-9071-4B24-AA88-5DC23F609659}" dt="2022-11-18T03:05:01.421" v="5955"/>
          <ac:spMkLst>
            <pc:docMk/>
            <pc:sldMk cId="849266544" sldId="256"/>
            <ac:spMk id="43" creationId="{BFACC36F-821F-F54B-1D30-1E686E217AF4}"/>
          </ac:spMkLst>
        </pc:spChg>
        <pc:spChg chg="add del mod modVis">
          <ac:chgData name="Selvyn Yovany Martinez Barahona" userId="3ccf779dc7355a40" providerId="LiveId" clId="{176DFD19-9071-4B24-AA88-5DC23F609659}" dt="2022-11-18T03:05:14.314" v="6093"/>
          <ac:spMkLst>
            <pc:docMk/>
            <pc:sldMk cId="849266544" sldId="256"/>
            <ac:spMk id="45" creationId="{47E0D8CA-85B8-4D54-46FD-F5AD1F01F10C}"/>
          </ac:spMkLst>
        </pc:spChg>
        <pc:spChg chg="add del mod modVis">
          <ac:chgData name="Selvyn Yovany Martinez Barahona" userId="3ccf779dc7355a40" providerId="LiveId" clId="{176DFD19-9071-4B24-AA88-5DC23F609659}" dt="2022-11-18T03:05:39.074" v="6292"/>
          <ac:spMkLst>
            <pc:docMk/>
            <pc:sldMk cId="849266544" sldId="256"/>
            <ac:spMk id="47" creationId="{4FAC759E-9227-FC07-66ED-4D8294B67909}"/>
          </ac:spMkLst>
        </pc:spChg>
        <pc:spChg chg="add del mod modVis">
          <ac:chgData name="Selvyn Yovany Martinez Barahona" userId="3ccf779dc7355a40" providerId="LiveId" clId="{176DFD19-9071-4B24-AA88-5DC23F609659}" dt="2022-11-18T03:06:20.840" v="6575"/>
          <ac:spMkLst>
            <pc:docMk/>
            <pc:sldMk cId="849266544" sldId="256"/>
            <ac:spMk id="50" creationId="{783B3BFA-924F-B093-41E4-C788A0AC91CE}"/>
          </ac:spMkLst>
        </pc:spChg>
        <pc:spChg chg="add del mod modVis">
          <ac:chgData name="Selvyn Yovany Martinez Barahona" userId="3ccf779dc7355a40" providerId="LiveId" clId="{176DFD19-9071-4B24-AA88-5DC23F609659}" dt="2022-11-18T03:06:27.317" v="7126"/>
          <ac:spMkLst>
            <pc:docMk/>
            <pc:sldMk cId="849266544" sldId="256"/>
            <ac:spMk id="52" creationId="{4FBEBCD0-9782-C2C3-2EF9-BC6FDAB8E421}"/>
          </ac:spMkLst>
        </pc:spChg>
        <pc:spChg chg="add mod ord replST">
          <ac:chgData name="Selvyn Yovany Martinez Barahona" userId="3ccf779dc7355a40" providerId="LiveId" clId="{176DFD19-9071-4B24-AA88-5DC23F609659}" dt="2022-11-18T03:44:08.356" v="10678"/>
          <ac:spMkLst>
            <pc:docMk/>
            <pc:sldMk cId="849266544" sldId="256"/>
            <ac:spMk id="53" creationId="{F01B8698-9294-F532-DDB4-2EE198CBAA21}"/>
          </ac:spMkLst>
        </pc:spChg>
        <pc:spChg chg="add mod ord replST">
          <ac:chgData name="Selvyn Yovany Martinez Barahona" userId="3ccf779dc7355a40" providerId="LiveId" clId="{176DFD19-9071-4B24-AA88-5DC23F609659}" dt="2022-11-18T03:44:08.357" v="10680"/>
          <ac:spMkLst>
            <pc:docMk/>
            <pc:sldMk cId="849266544" sldId="256"/>
            <ac:spMk id="54" creationId="{F01B8698-9294-F532-DDB4-2EE198CBAA21}"/>
          </ac:spMkLst>
        </pc:spChg>
        <pc:spChg chg="add mod ord replST">
          <ac:chgData name="Selvyn Yovany Martinez Barahona" userId="3ccf779dc7355a40" providerId="LiveId" clId="{176DFD19-9071-4B24-AA88-5DC23F609659}" dt="2022-11-18T03:44:08.356" v="10676"/>
          <ac:spMkLst>
            <pc:docMk/>
            <pc:sldMk cId="849266544" sldId="256"/>
            <ac:spMk id="55" creationId="{F01B8698-9294-F532-DDB4-2EE198CBAA21}"/>
          </ac:spMkLst>
        </pc:spChg>
        <pc:spChg chg="add mod ord replST">
          <ac:chgData name="Selvyn Yovany Martinez Barahona" userId="3ccf779dc7355a40" providerId="LiveId" clId="{176DFD19-9071-4B24-AA88-5DC23F609659}" dt="2022-11-18T03:44:08.357" v="10682"/>
          <ac:spMkLst>
            <pc:docMk/>
            <pc:sldMk cId="849266544" sldId="256"/>
            <ac:spMk id="56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18T03:06:38.504" v="7275"/>
          <ac:spMkLst>
            <pc:docMk/>
            <pc:sldMk cId="849266544" sldId="256"/>
            <ac:spMk id="57" creationId="{F01B8698-9294-F532-DDB4-2EE198CBAA21}"/>
          </ac:spMkLst>
        </pc:spChg>
        <pc:spChg chg="add del mod modVis">
          <ac:chgData name="Selvyn Yovany Martinez Barahona" userId="3ccf779dc7355a40" providerId="LiveId" clId="{176DFD19-9071-4B24-AA88-5DC23F609659}" dt="2022-11-18T03:06:38.529" v="7341"/>
          <ac:spMkLst>
            <pc:docMk/>
            <pc:sldMk cId="849266544" sldId="256"/>
            <ac:spMk id="59" creationId="{303751EF-A7C6-9C22-CCA8-0B3EE27985F6}"/>
          </ac:spMkLst>
        </pc:spChg>
        <pc:spChg chg="add del mod modVis">
          <ac:chgData name="Selvyn Yovany Martinez Barahona" userId="3ccf779dc7355a40" providerId="LiveId" clId="{176DFD19-9071-4B24-AA88-5DC23F609659}" dt="2022-11-18T03:07:10.514" v="7474"/>
          <ac:spMkLst>
            <pc:docMk/>
            <pc:sldMk cId="849266544" sldId="256"/>
            <ac:spMk id="61" creationId="{B102D54E-609F-9431-DE33-1A9C4D92EB45}"/>
          </ac:spMkLst>
        </pc:spChg>
        <pc:spChg chg="add del mod modVis">
          <ac:chgData name="Selvyn Yovany Martinez Barahona" userId="3ccf779dc7355a40" providerId="LiveId" clId="{176DFD19-9071-4B24-AA88-5DC23F609659}" dt="2022-11-18T03:07:17.870" v="7609"/>
          <ac:spMkLst>
            <pc:docMk/>
            <pc:sldMk cId="849266544" sldId="256"/>
            <ac:spMk id="63" creationId="{70B26617-DE3B-9AAB-3B16-E66093C22C93}"/>
          </ac:spMkLst>
        </pc:spChg>
        <pc:spChg chg="mod">
          <ac:chgData name="Selvyn Yovany Martinez Barahona" userId="3ccf779dc7355a40" providerId="LiveId" clId="{176DFD19-9071-4B24-AA88-5DC23F609659}" dt="2022-11-18T03:44:08.354" v="10664"/>
          <ac:spMkLst>
            <pc:docMk/>
            <pc:sldMk cId="849266544" sldId="256"/>
            <ac:spMk id="168" creationId="{F01B8698-9294-F532-DDB4-2EE198CBAA21}"/>
          </ac:spMkLst>
        </pc:spChg>
        <pc:spChg chg="mod">
          <ac:chgData name="Selvyn Yovany Martinez Barahona" userId="3ccf779dc7355a40" providerId="LiveId" clId="{176DFD19-9071-4B24-AA88-5DC23F609659}" dt="2022-11-18T03:44:08.355" v="10667"/>
          <ac:spMkLst>
            <pc:docMk/>
            <pc:sldMk cId="849266544" sldId="256"/>
            <ac:spMk id="169" creationId="{F01B8698-9294-F532-DDB4-2EE198CBAA21}"/>
          </ac:spMkLst>
        </pc:spChg>
        <pc:spChg chg="mod">
          <ac:chgData name="Selvyn Yovany Martinez Barahona" userId="3ccf779dc7355a40" providerId="LiveId" clId="{176DFD19-9071-4B24-AA88-5DC23F609659}" dt="2022-11-18T03:44:08.354" v="10663"/>
          <ac:spMkLst>
            <pc:docMk/>
            <pc:sldMk cId="849266544" sldId="256"/>
            <ac:spMk id="186" creationId="{D2C85364-35B4-24C7-21A3-4F985EAEEE7E}"/>
          </ac:spMkLst>
        </pc:spChg>
        <pc:spChg chg="mod">
          <ac:chgData name="Selvyn Yovany Martinez Barahona" userId="3ccf779dc7355a40" providerId="LiveId" clId="{176DFD19-9071-4B24-AA88-5DC23F609659}" dt="2022-11-18T03:44:08.355" v="10668"/>
          <ac:spMkLst>
            <pc:docMk/>
            <pc:sldMk cId="849266544" sldId="256"/>
            <ac:spMk id="189" creationId="{35BB811B-08DE-AB67-F9FD-C573E1C72AC3}"/>
          </ac:spMkLst>
        </pc:spChg>
        <pc:spChg chg="mod">
          <ac:chgData name="Selvyn Yovany Martinez Barahona" userId="3ccf779dc7355a40" providerId="LiveId" clId="{176DFD19-9071-4B24-AA88-5DC23F609659}" dt="2022-11-18T03:44:08.355" v="10666"/>
          <ac:spMkLst>
            <pc:docMk/>
            <pc:sldMk cId="849266544" sldId="256"/>
            <ac:spMk id="190" creationId="{27C272A0-CD42-325D-2C62-C2A645DB0C17}"/>
          </ac:spMkLst>
        </pc:spChg>
        <pc:spChg chg="mod">
          <ac:chgData name="Selvyn Yovany Martinez Barahona" userId="3ccf779dc7355a40" providerId="LiveId" clId="{176DFD19-9071-4B24-AA88-5DC23F609659}" dt="2022-11-18T03:44:08.354" v="10665"/>
          <ac:spMkLst>
            <pc:docMk/>
            <pc:sldMk cId="849266544" sldId="256"/>
            <ac:spMk id="191" creationId="{35BF6085-E56A-8D0E-9B3C-4692F351187A}"/>
          </ac:spMkLst>
        </pc:spChg>
        <pc:spChg chg="del mod">
          <ac:chgData name="Selvyn Yovany Martinez Barahona" userId="3ccf779dc7355a40" providerId="LiveId" clId="{176DFD19-9071-4B24-AA88-5DC23F609659}" dt="2022-11-08T00:30:19.094" v="245"/>
          <ac:spMkLst>
            <pc:docMk/>
            <pc:sldMk cId="849266544" sldId="256"/>
            <ac:spMk id="193" creationId="{F01B8698-9294-F532-DDB4-2EE198CBAA21}"/>
          </ac:spMkLst>
        </pc:spChg>
        <pc:spChg chg="del mod">
          <ac:chgData name="Selvyn Yovany Martinez Barahona" userId="3ccf779dc7355a40" providerId="LiveId" clId="{176DFD19-9071-4B24-AA88-5DC23F609659}" dt="2022-11-08T00:30:19.093" v="243"/>
          <ac:spMkLst>
            <pc:docMk/>
            <pc:sldMk cId="849266544" sldId="256"/>
            <ac:spMk id="194" creationId="{F01B8698-9294-F532-DDB4-2EE198CBAA21}"/>
          </ac:spMkLst>
        </pc:spChg>
        <pc:spChg chg="del mod">
          <ac:chgData name="Selvyn Yovany Martinez Barahona" userId="3ccf779dc7355a40" providerId="LiveId" clId="{176DFD19-9071-4B24-AA88-5DC23F609659}" dt="2022-11-08T00:30:19.093" v="241"/>
          <ac:spMkLst>
            <pc:docMk/>
            <pc:sldMk cId="849266544" sldId="256"/>
            <ac:spMk id="196" creationId="{F01B8698-9294-F532-DDB4-2EE198CBAA21}"/>
          </ac:spMkLst>
        </pc:spChg>
        <pc:spChg chg="del mod">
          <ac:chgData name="Selvyn Yovany Martinez Barahona" userId="3ccf779dc7355a40" providerId="LiveId" clId="{176DFD19-9071-4B24-AA88-5DC23F609659}" dt="2022-11-08T00:30:19.092" v="239"/>
          <ac:spMkLst>
            <pc:docMk/>
            <pc:sldMk cId="849266544" sldId="256"/>
            <ac:spMk id="198" creationId="{F01B8698-9294-F532-DDB4-2EE198CBAA21}"/>
          </ac:spMkLst>
        </pc:spChg>
        <pc:spChg chg="del mod">
          <ac:chgData name="Selvyn Yovany Martinez Barahona" userId="3ccf779dc7355a40" providerId="LiveId" clId="{176DFD19-9071-4B24-AA88-5DC23F609659}" dt="2022-11-08T00:30:19.091" v="237"/>
          <ac:spMkLst>
            <pc:docMk/>
            <pc:sldMk cId="849266544" sldId="256"/>
            <ac:spMk id="199" creationId="{F01B8698-9294-F532-DDB4-2EE198CBAA21}"/>
          </ac:spMkLst>
        </pc:spChg>
        <pc:spChg chg="mod">
          <ac:chgData name="Selvyn Yovany Martinez Barahona" userId="3ccf779dc7355a40" providerId="LiveId" clId="{176DFD19-9071-4B24-AA88-5DC23F609659}" dt="2022-11-18T03:44:08.352" v="10655"/>
          <ac:spMkLst>
            <pc:docMk/>
            <pc:sldMk cId="849266544" sldId="256"/>
            <ac:spMk id="204" creationId="{F01B8698-9294-F532-DDB4-2EE198CBAA21}"/>
          </ac:spMkLst>
        </pc:spChg>
        <pc:spChg chg="mod">
          <ac:chgData name="Selvyn Yovany Martinez Barahona" userId="3ccf779dc7355a40" providerId="LiveId" clId="{176DFD19-9071-4B24-AA88-5DC23F609659}" dt="2022-11-18T03:44:08.353" v="10657"/>
          <ac:spMkLst>
            <pc:docMk/>
            <pc:sldMk cId="849266544" sldId="256"/>
            <ac:spMk id="209" creationId="{A95A17FA-3020-6F91-90B9-BE801BCA5130}"/>
          </ac:spMkLst>
        </pc:spChg>
        <pc:spChg chg="mod ord">
          <ac:chgData name="Selvyn Yovany Martinez Barahona" userId="3ccf779dc7355a40" providerId="LiveId" clId="{176DFD19-9071-4B24-AA88-5DC23F609659}" dt="2022-11-18T03:44:08.353" v="10660"/>
          <ac:spMkLst>
            <pc:docMk/>
            <pc:sldMk cId="849266544" sldId="256"/>
            <ac:spMk id="210" creationId="{52C7F6AE-BF4D-835B-F0D7-0E03307745E7}"/>
          </ac:spMkLst>
        </pc:spChg>
        <pc:spChg chg="mod">
          <ac:chgData name="Selvyn Yovany Martinez Barahona" userId="3ccf779dc7355a40" providerId="LiveId" clId="{176DFD19-9071-4B24-AA88-5DC23F609659}" dt="2022-11-18T03:44:08.353" v="10658"/>
          <ac:spMkLst>
            <pc:docMk/>
            <pc:sldMk cId="849266544" sldId="256"/>
            <ac:spMk id="211" creationId="{ACB5FA66-420A-A81B-9515-200E417A7614}"/>
          </ac:spMkLst>
        </pc:spChg>
        <pc:spChg chg="mod">
          <ac:chgData name="Selvyn Yovany Martinez Barahona" userId="3ccf779dc7355a40" providerId="LiveId" clId="{176DFD19-9071-4B24-AA88-5DC23F609659}" dt="2022-11-18T03:44:08.353" v="10656"/>
          <ac:spMkLst>
            <pc:docMk/>
            <pc:sldMk cId="849266544" sldId="256"/>
            <ac:spMk id="212" creationId="{CFE16A47-45D9-1330-227A-6FA04AF148BD}"/>
          </ac:spMkLst>
        </pc:spChg>
        <pc:spChg chg="mod">
          <ac:chgData name="Selvyn Yovany Martinez Barahona" userId="3ccf779dc7355a40" providerId="LiveId" clId="{176DFD19-9071-4B24-AA88-5DC23F609659}" dt="2022-11-18T03:44:08.354" v="10662"/>
          <ac:spMkLst>
            <pc:docMk/>
            <pc:sldMk cId="849266544" sldId="256"/>
            <ac:spMk id="213" creationId="{FCAE7E1D-1499-C758-F9FE-00B9371A46F4}"/>
          </ac:spMkLst>
        </pc:spChg>
        <pc:spChg chg="mod">
          <ac:chgData name="Selvyn Yovany Martinez Barahona" userId="3ccf779dc7355a40" providerId="LiveId" clId="{176DFD19-9071-4B24-AA88-5DC23F609659}" dt="2022-11-18T03:44:08.354" v="10661"/>
          <ac:spMkLst>
            <pc:docMk/>
            <pc:sldMk cId="849266544" sldId="256"/>
            <ac:spMk id="291" creationId="{42BABA56-84CC-058A-9FA9-01E2AE4F30F6}"/>
          </ac:spMkLst>
        </pc:spChg>
        <pc:spChg chg="mod ord">
          <ac:chgData name="Selvyn Yovany Martinez Barahona" userId="3ccf779dc7355a40" providerId="LiveId" clId="{176DFD19-9071-4B24-AA88-5DC23F609659}" dt="2022-11-18T03:44:08.355" v="10670"/>
          <ac:spMkLst>
            <pc:docMk/>
            <pc:sldMk cId="849266544" sldId="256"/>
            <ac:spMk id="316" creationId="{7C20ADE5-2FD0-8E3B-B4A5-8D535F5437A7}"/>
          </ac:spMkLst>
        </pc:spChg>
        <pc:spChg chg="mod ord">
          <ac:chgData name="Selvyn Yovany Martinez Barahona" userId="3ccf779dc7355a40" providerId="LiveId" clId="{176DFD19-9071-4B24-AA88-5DC23F609659}" dt="2022-11-18T03:44:08.356" v="10672"/>
          <ac:spMkLst>
            <pc:docMk/>
            <pc:sldMk cId="849266544" sldId="256"/>
            <ac:spMk id="385" creationId="{046DFD33-DE3E-0A85-004B-7F5CE8942312}"/>
          </ac:spMkLst>
        </pc:spChg>
        <pc:spChg chg="del mod ord">
          <ac:chgData name="Selvyn Yovany Martinez Barahona" userId="3ccf779dc7355a40" providerId="LiveId" clId="{176DFD19-9071-4B24-AA88-5DC23F609659}" dt="2022-11-18T03:06:20.801" v="6509"/>
          <ac:spMkLst>
            <pc:docMk/>
            <pc:sldMk cId="849266544" sldId="256"/>
            <ac:spMk id="387" creationId="{F048C153-7E8A-8CE6-EB18-71AEF89CFA99}"/>
          </ac:spMkLst>
        </pc:spChg>
        <pc:spChg chg="del mod ord">
          <ac:chgData name="Selvyn Yovany Martinez Barahona" userId="3ccf779dc7355a40" providerId="LiveId" clId="{176DFD19-9071-4B24-AA88-5DC23F609659}" dt="2022-11-18T03:06:20.802" v="6511"/>
          <ac:spMkLst>
            <pc:docMk/>
            <pc:sldMk cId="849266544" sldId="256"/>
            <ac:spMk id="388" creationId="{1668D685-E39E-CA78-E994-97AB150EA2B8}"/>
          </ac:spMkLst>
        </pc:spChg>
        <pc:spChg chg="del mod ord">
          <ac:chgData name="Selvyn Yovany Martinez Barahona" userId="3ccf779dc7355a40" providerId="LiveId" clId="{176DFD19-9071-4B24-AA88-5DC23F609659}" dt="2022-11-18T03:06:20.803" v="6513"/>
          <ac:spMkLst>
            <pc:docMk/>
            <pc:sldMk cId="849266544" sldId="256"/>
            <ac:spMk id="389" creationId="{761668BA-4084-A0C9-1315-764B23165AFC}"/>
          </ac:spMkLst>
        </pc:spChg>
        <pc:spChg chg="del mod ord">
          <ac:chgData name="Selvyn Yovany Martinez Barahona" userId="3ccf779dc7355a40" providerId="LiveId" clId="{176DFD19-9071-4B24-AA88-5DC23F609659}" dt="2022-11-18T03:06:20.804" v="6515"/>
          <ac:spMkLst>
            <pc:docMk/>
            <pc:sldMk cId="849266544" sldId="256"/>
            <ac:spMk id="390" creationId="{5A361C12-95C9-5F06-4553-BA298A0D4878}"/>
          </ac:spMkLst>
        </pc:spChg>
        <pc:spChg chg="del mod ord">
          <ac:chgData name="Selvyn Yovany Martinez Barahona" userId="3ccf779dc7355a40" providerId="LiveId" clId="{176DFD19-9071-4B24-AA88-5DC23F609659}" dt="2022-11-18T03:06:20.805" v="6517"/>
          <ac:spMkLst>
            <pc:docMk/>
            <pc:sldMk cId="849266544" sldId="256"/>
            <ac:spMk id="391" creationId="{9D0C0292-A91B-A51A-422D-523D00681132}"/>
          </ac:spMkLst>
        </pc:spChg>
        <pc:spChg chg="mod">
          <ac:chgData name="Selvyn Yovany Martinez Barahona" userId="3ccf779dc7355a40" providerId="LiveId" clId="{176DFD19-9071-4B24-AA88-5DC23F609659}" dt="2022-11-18T03:44:08.358" v="10686"/>
          <ac:spMkLst>
            <pc:docMk/>
            <pc:sldMk cId="849266544" sldId="256"/>
            <ac:spMk id="392" creationId="{AC2C9A98-FE6C-C979-12CC-1FDE567E04C6}"/>
          </ac:spMkLst>
        </pc:spChg>
        <pc:spChg chg="mod ord">
          <ac:chgData name="Selvyn Yovany Martinez Barahona" userId="3ccf779dc7355a40" providerId="LiveId" clId="{176DFD19-9071-4B24-AA88-5DC23F609659}" dt="2022-11-18T03:44:08.358" v="10685"/>
          <ac:spMkLst>
            <pc:docMk/>
            <pc:sldMk cId="849266544" sldId="256"/>
            <ac:spMk id="393" creationId="{8E7815A4-5393-807F-919E-046A6C31D741}"/>
          </ac:spMkLst>
        </pc:spChg>
        <pc:spChg chg="mod">
          <ac:chgData name="Selvyn Yovany Martinez Barahona" userId="3ccf779dc7355a40" providerId="LiveId" clId="{176DFD19-9071-4B24-AA88-5DC23F609659}" dt="2022-11-18T03:44:08.358" v="10687"/>
          <ac:spMkLst>
            <pc:docMk/>
            <pc:sldMk cId="849266544" sldId="256"/>
            <ac:spMk id="394" creationId="{6862160E-83C3-739C-81C9-3F8FCCDA48C6}"/>
          </ac:spMkLst>
        </pc:spChg>
        <pc:spChg chg="mod">
          <ac:chgData name="Selvyn Yovany Martinez Barahona" userId="3ccf779dc7355a40" providerId="LiveId" clId="{176DFD19-9071-4B24-AA88-5DC23F609659}" dt="2022-11-18T03:44:08.357" v="10683"/>
          <ac:spMkLst>
            <pc:docMk/>
            <pc:sldMk cId="849266544" sldId="256"/>
            <ac:spMk id="395" creationId="{57391670-30A4-EAC2-32E2-D9315693A9AC}"/>
          </ac:spMkLst>
        </pc:spChg>
        <pc:spChg chg="mod">
          <ac:chgData name="Selvyn Yovany Martinez Barahona" userId="3ccf779dc7355a40" providerId="LiveId" clId="{176DFD19-9071-4B24-AA88-5DC23F609659}" dt="2022-11-18T03:44:08.358" v="10688"/>
          <ac:spMkLst>
            <pc:docMk/>
            <pc:sldMk cId="849266544" sldId="256"/>
            <ac:spMk id="396" creationId="{7E6EDAA4-3319-9A94-5A27-347D4BF81F7F}"/>
          </ac:spMkLst>
        </pc:spChg>
        <pc:spChg chg="mod">
          <ac:chgData name="Selvyn Yovany Martinez Barahona" userId="3ccf779dc7355a40" providerId="LiveId" clId="{176DFD19-9071-4B24-AA88-5DC23F609659}" dt="2022-11-18T03:44:08.358" v="10689"/>
          <ac:spMkLst>
            <pc:docMk/>
            <pc:sldMk cId="849266544" sldId="256"/>
            <ac:spMk id="397" creationId="{8F139A8E-8B69-16D8-FF4D-4485EEEA81BF}"/>
          </ac:spMkLst>
        </pc:spChg>
        <pc:spChg chg="mod">
          <ac:chgData name="Selvyn Yovany Martinez Barahona" userId="3ccf779dc7355a40" providerId="LiveId" clId="{176DFD19-9071-4B24-AA88-5DC23F609659}" dt="2022-11-18T03:44:08.359" v="10690"/>
          <ac:spMkLst>
            <pc:docMk/>
            <pc:sldMk cId="849266544" sldId="256"/>
            <ac:spMk id="398" creationId="{E5A7DB12-3395-5216-4A11-B585E10FA73D}"/>
          </ac:spMkLst>
        </pc:spChg>
        <pc:spChg chg="mod">
          <ac:chgData name="Selvyn Yovany Martinez Barahona" userId="3ccf779dc7355a40" providerId="LiveId" clId="{176DFD19-9071-4B24-AA88-5DC23F609659}" dt="2022-11-18T03:44:08.359" v="10691"/>
          <ac:spMkLst>
            <pc:docMk/>
            <pc:sldMk cId="849266544" sldId="256"/>
            <ac:spMk id="399" creationId="{733610BC-6B23-F9CC-4330-A6823B338323}"/>
          </ac:spMkLst>
        </pc:spChg>
        <pc:spChg chg="mod">
          <ac:chgData name="Selvyn Yovany Martinez Barahona" userId="3ccf779dc7355a40" providerId="LiveId" clId="{176DFD19-9071-4B24-AA88-5DC23F609659}" dt="2022-11-18T03:44:08.359" v="10692"/>
          <ac:spMkLst>
            <pc:docMk/>
            <pc:sldMk cId="849266544" sldId="256"/>
            <ac:spMk id="400" creationId="{AB50C9EA-4642-5032-439C-1E2473352DFB}"/>
          </ac:spMkLst>
        </pc:spChg>
        <pc:spChg chg="mod">
          <ac:chgData name="Selvyn Yovany Martinez Barahona" userId="3ccf779dc7355a40" providerId="LiveId" clId="{176DFD19-9071-4B24-AA88-5DC23F609659}" dt="2022-11-18T03:44:08.359" v="10694"/>
          <ac:spMkLst>
            <pc:docMk/>
            <pc:sldMk cId="849266544" sldId="256"/>
            <ac:spMk id="401" creationId="{F6D3763C-E73F-53EA-3E70-A969BECD188A}"/>
          </ac:spMkLst>
        </pc:spChg>
        <pc:spChg chg="mod">
          <ac:chgData name="Selvyn Yovany Martinez Barahona" userId="3ccf779dc7355a40" providerId="LiveId" clId="{176DFD19-9071-4B24-AA88-5DC23F609659}" dt="2022-11-18T03:44:08.359" v="10693"/>
          <ac:spMkLst>
            <pc:docMk/>
            <pc:sldMk cId="849266544" sldId="256"/>
            <ac:spMk id="402" creationId="{DB2D3D2D-474F-2B4D-7F97-9D3614C3D2DB}"/>
          </ac:spMkLst>
        </pc:spChg>
        <pc:spChg chg="mod">
          <ac:chgData name="Selvyn Yovany Martinez Barahona" userId="3ccf779dc7355a40" providerId="LiveId" clId="{176DFD19-9071-4B24-AA88-5DC23F609659}" dt="2022-11-18T03:44:08.359" v="10695"/>
          <ac:spMkLst>
            <pc:docMk/>
            <pc:sldMk cId="849266544" sldId="256"/>
            <ac:spMk id="403" creationId="{2484883C-2B53-61DE-19E9-9F79FE260899}"/>
          </ac:spMkLst>
        </pc:spChg>
        <pc:spChg chg="mod">
          <ac:chgData name="Selvyn Yovany Martinez Barahona" userId="3ccf779dc7355a40" providerId="LiveId" clId="{176DFD19-9071-4B24-AA88-5DC23F609659}" dt="2022-11-18T03:44:08.360" v="10696"/>
          <ac:spMkLst>
            <pc:docMk/>
            <pc:sldMk cId="849266544" sldId="256"/>
            <ac:spMk id="438" creationId="{F01B8698-9294-F532-DDB4-2EE198CBAA21}"/>
          </ac:spMkLst>
        </pc:spChg>
        <pc:spChg chg="add del mod modVis">
          <ac:chgData name="Selvyn Yovany Martinez Barahona" userId="3ccf779dc7355a40" providerId="LiveId" clId="{176DFD19-9071-4B24-AA88-5DC23F609659}" dt="2022-11-08T00:30:19.137" v="318"/>
          <ac:spMkLst>
            <pc:docMk/>
            <pc:sldMk cId="849266544" sldId="256"/>
            <ac:spMk id="447" creationId="{BF90D960-C5A0-667B-C017-1ADD724FFD9C}"/>
          </ac:spMkLst>
        </pc:spChg>
        <pc:spChg chg="add del mod modVis">
          <ac:chgData name="Selvyn Yovany Martinez Barahona" userId="3ccf779dc7355a40" providerId="LiveId" clId="{176DFD19-9071-4B24-AA88-5DC23F609659}" dt="2022-11-18T03:07:24.884" v="7744"/>
          <ac:spMkLst>
            <pc:docMk/>
            <pc:sldMk cId="849266544" sldId="256"/>
            <ac:spMk id="449" creationId="{7EEBA972-7EC7-5BC6-C526-19EE0DA6E20B}"/>
          </ac:spMkLst>
        </pc:spChg>
        <pc:spChg chg="add del mod modVis">
          <ac:chgData name="Selvyn Yovany Martinez Barahona" userId="3ccf779dc7355a40" providerId="LiveId" clId="{176DFD19-9071-4B24-AA88-5DC23F609659}" dt="2022-11-18T03:07:33.465" v="7879"/>
          <ac:spMkLst>
            <pc:docMk/>
            <pc:sldMk cId="849266544" sldId="256"/>
            <ac:spMk id="451" creationId="{407F5696-C526-BAF8-B029-3709A0B4B7F9}"/>
          </ac:spMkLst>
        </pc:spChg>
        <pc:spChg chg="add del mod modVis">
          <ac:chgData name="Selvyn Yovany Martinez Barahona" userId="3ccf779dc7355a40" providerId="LiveId" clId="{176DFD19-9071-4B24-AA88-5DC23F609659}" dt="2022-11-08T00:30:32.181" v="511"/>
          <ac:spMkLst>
            <pc:docMk/>
            <pc:sldMk cId="849266544" sldId="256"/>
            <ac:spMk id="451" creationId="{AF3C9087-4FFD-14A9-5B21-4D7078B94799}"/>
          </ac:spMkLst>
        </pc:spChg>
        <pc:spChg chg="add del mod modVis">
          <ac:chgData name="Selvyn Yovany Martinez Barahona" userId="3ccf779dc7355a40" providerId="LiveId" clId="{176DFD19-9071-4B24-AA88-5DC23F609659}" dt="2022-11-18T03:07:41.042" v="8014"/>
          <ac:spMkLst>
            <pc:docMk/>
            <pc:sldMk cId="849266544" sldId="256"/>
            <ac:spMk id="453" creationId="{41668ABC-80FD-9E79-02CB-393FCF53CCC0}"/>
          </ac:spMkLst>
        </pc:spChg>
        <pc:spChg chg="add del mod modVis">
          <ac:chgData name="Selvyn Yovany Martinez Barahona" userId="3ccf779dc7355a40" providerId="LiveId" clId="{176DFD19-9071-4B24-AA88-5DC23F609659}" dt="2022-11-08T00:30:42.685" v="704"/>
          <ac:spMkLst>
            <pc:docMk/>
            <pc:sldMk cId="849266544" sldId="256"/>
            <ac:spMk id="454" creationId="{024310F4-989F-8C07-201F-673991B93487}"/>
          </ac:spMkLst>
        </pc:spChg>
        <pc:spChg chg="add del mod modVis">
          <ac:chgData name="Selvyn Yovany Martinez Barahona" userId="3ccf779dc7355a40" providerId="LiveId" clId="{176DFD19-9071-4B24-AA88-5DC23F609659}" dt="2022-11-18T03:07:49.245" v="8149"/>
          <ac:spMkLst>
            <pc:docMk/>
            <pc:sldMk cId="849266544" sldId="256"/>
            <ac:spMk id="455" creationId="{5B2CEDCA-83B7-008B-7392-71E9EE8D61C2}"/>
          </ac:spMkLst>
        </pc:spChg>
        <pc:spChg chg="add del mod modVis">
          <ac:chgData name="Selvyn Yovany Martinez Barahona" userId="3ccf779dc7355a40" providerId="LiveId" clId="{176DFD19-9071-4B24-AA88-5DC23F609659}" dt="2022-11-08T00:30:44.658" v="1268"/>
          <ac:spMkLst>
            <pc:docMk/>
            <pc:sldMk cId="849266544" sldId="256"/>
            <ac:spMk id="456" creationId="{E7245533-1999-F43B-7E29-DEF03F628C27}"/>
          </ac:spMkLst>
        </pc:spChg>
        <pc:spChg chg="add del mod ord replST">
          <ac:chgData name="Selvyn Yovany Martinez Barahona" userId="3ccf779dc7355a40" providerId="LiveId" clId="{176DFD19-9071-4B24-AA88-5DC23F609659}" dt="2022-11-18T03:44:08.351" v="10646"/>
          <ac:spMkLst>
            <pc:docMk/>
            <pc:sldMk cId="849266544" sldId="256"/>
            <ac:spMk id="457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18T02:51:20.099" v="3028"/>
          <ac:spMkLst>
            <pc:docMk/>
            <pc:sldMk cId="849266544" sldId="256"/>
            <ac:spMk id="458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18T02:51:20.101" v="3030"/>
          <ac:spMkLst>
            <pc:docMk/>
            <pc:sldMk cId="849266544" sldId="256"/>
            <ac:spMk id="459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18T02:51:20.101" v="3032"/>
          <ac:spMkLst>
            <pc:docMk/>
            <pc:sldMk cId="849266544" sldId="256"/>
            <ac:spMk id="460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18T02:51:20.102" v="3034"/>
          <ac:spMkLst>
            <pc:docMk/>
            <pc:sldMk cId="849266544" sldId="256"/>
            <ac:spMk id="461" creationId="{F01B8698-9294-F532-DDB4-2EE198CBAA21}"/>
          </ac:spMkLst>
        </pc:spChg>
        <pc:spChg chg="add del mod modVis">
          <ac:chgData name="Selvyn Yovany Martinez Barahona" userId="3ccf779dc7355a40" providerId="LiveId" clId="{176DFD19-9071-4B24-AA88-5DC23F609659}" dt="2022-11-18T03:07:53.219" v="8284"/>
          <ac:spMkLst>
            <pc:docMk/>
            <pc:sldMk cId="849266544" sldId="256"/>
            <ac:spMk id="463" creationId="{B2881AA3-EE2B-87C1-34BC-BCCCD6C84601}"/>
          </ac:spMkLst>
        </pc:spChg>
        <pc:spChg chg="add del mod modVis">
          <ac:chgData name="Selvyn Yovany Martinez Barahona" userId="3ccf779dc7355a40" providerId="LiveId" clId="{176DFD19-9071-4B24-AA88-5DC23F609659}" dt="2022-11-08T00:33:47.020" v="2583" actId="962"/>
          <ac:spMkLst>
            <pc:docMk/>
            <pc:sldMk cId="849266544" sldId="256"/>
            <ac:spMk id="464" creationId="{AFA32FEB-4726-A115-0A7B-3750501E13DA}"/>
          </ac:spMkLst>
        </pc:spChg>
        <pc:spChg chg="add del mod modVis">
          <ac:chgData name="Selvyn Yovany Martinez Barahona" userId="3ccf779dc7355a40" providerId="LiveId" clId="{176DFD19-9071-4B24-AA88-5DC23F609659}" dt="2022-11-18T03:11:28.655" v="8420"/>
          <ac:spMkLst>
            <pc:docMk/>
            <pc:sldMk cId="849266544" sldId="256"/>
            <ac:spMk id="465" creationId="{B861AE32-0BDD-DA3A-367F-1D1C2CC2C3AB}"/>
          </ac:spMkLst>
        </pc:spChg>
        <pc:spChg chg="add del mod modVis">
          <ac:chgData name="Selvyn Yovany Martinez Barahona" userId="3ccf779dc7355a40" providerId="LiveId" clId="{176DFD19-9071-4B24-AA88-5DC23F609659}" dt="2022-11-18T03:11:39.049" v="8556"/>
          <ac:spMkLst>
            <pc:docMk/>
            <pc:sldMk cId="849266544" sldId="256"/>
            <ac:spMk id="467" creationId="{97A7D520-7402-714F-AA57-B9B607651E03}"/>
          </ac:spMkLst>
        </pc:spChg>
        <pc:spChg chg="add del mod replST delST">
          <ac:chgData name="Selvyn Yovany Martinez Barahona" userId="3ccf779dc7355a40" providerId="LiveId" clId="{176DFD19-9071-4B24-AA88-5DC23F609659}" dt="2022-11-08T00:33:45.132" v="2447"/>
          <ac:spMkLst>
            <pc:docMk/>
            <pc:sldMk cId="849266544" sldId="256"/>
            <ac:spMk id="468" creationId="{F01B8698-9294-F532-DDB4-2EE198CBAA21}"/>
          </ac:spMkLst>
        </pc:spChg>
        <pc:spChg chg="add del mod modVis">
          <ac:chgData name="Selvyn Yovany Martinez Barahona" userId="3ccf779dc7355a40" providerId="LiveId" clId="{176DFD19-9071-4B24-AA88-5DC23F609659}" dt="2022-11-18T03:11:43.523" v="8692"/>
          <ac:spMkLst>
            <pc:docMk/>
            <pc:sldMk cId="849266544" sldId="256"/>
            <ac:spMk id="469" creationId="{2221B23B-A4DD-7AD3-D495-914EEE901B99}"/>
          </ac:spMkLst>
        </pc:spChg>
        <pc:spChg chg="add del mod modVis">
          <ac:chgData name="Selvyn Yovany Martinez Barahona" userId="3ccf779dc7355a40" providerId="LiveId" clId="{176DFD19-9071-4B24-AA88-5DC23F609659}" dt="2022-11-08T00:33:45.132" v="2447"/>
          <ac:spMkLst>
            <pc:docMk/>
            <pc:sldMk cId="849266544" sldId="256"/>
            <ac:spMk id="469" creationId="{33044A17-34E3-B11D-D299-466C139DF639}"/>
          </ac:spMkLst>
        </pc:spChg>
        <pc:spChg chg="add del mod modVis">
          <ac:chgData name="Selvyn Yovany Martinez Barahona" userId="3ccf779dc7355a40" providerId="LiveId" clId="{176DFD19-9071-4B24-AA88-5DC23F609659}" dt="2022-11-18T03:11:55.514" v="8828"/>
          <ac:spMkLst>
            <pc:docMk/>
            <pc:sldMk cId="849266544" sldId="256"/>
            <ac:spMk id="471" creationId="{3DFB44B4-5C2D-D950-E75D-7A098E71297E}"/>
          </ac:spMkLst>
        </pc:spChg>
        <pc:spChg chg="add mod replST delST">
          <ac:chgData name="Selvyn Yovany Martinez Barahona" userId="3ccf779dc7355a40" providerId="LiveId" clId="{176DFD19-9071-4B24-AA88-5DC23F609659}" dt="2022-11-08T00:33:45.132" v="2447"/>
          <ac:spMkLst>
            <pc:docMk/>
            <pc:sldMk cId="849266544" sldId="256"/>
            <ac:spMk id="471" creationId="{F01B8698-9294-F532-DDB4-2EE198CBAA21}"/>
          </ac:spMkLst>
        </pc:spChg>
        <pc:spChg chg="add del mod modVis">
          <ac:chgData name="Selvyn Yovany Martinez Barahona" userId="3ccf779dc7355a40" providerId="LiveId" clId="{176DFD19-9071-4B24-AA88-5DC23F609659}" dt="2022-11-08T00:33:45.132" v="2447"/>
          <ac:spMkLst>
            <pc:docMk/>
            <pc:sldMk cId="849266544" sldId="256"/>
            <ac:spMk id="472" creationId="{8B1A7DAD-947B-4C5F-3C19-28BE78AE9BCA}"/>
          </ac:spMkLst>
        </pc:spChg>
        <pc:spChg chg="add del mod modVis">
          <ac:chgData name="Selvyn Yovany Martinez Barahona" userId="3ccf779dc7355a40" providerId="LiveId" clId="{176DFD19-9071-4B24-AA88-5DC23F609659}" dt="2022-11-08T00:33:44.234" v="2229"/>
          <ac:spMkLst>
            <pc:docMk/>
            <pc:sldMk cId="849266544" sldId="256"/>
            <ac:spMk id="474" creationId="{12BDC72C-847B-096B-F025-BF3A4D463DD0}"/>
          </ac:spMkLst>
        </pc:spChg>
        <pc:spChg chg="add del mod modVis">
          <ac:chgData name="Selvyn Yovany Martinez Barahona" userId="3ccf779dc7355a40" providerId="LiveId" clId="{176DFD19-9071-4B24-AA88-5DC23F609659}" dt="2022-11-18T03:12:12.435" v="9047"/>
          <ac:spMkLst>
            <pc:docMk/>
            <pc:sldMk cId="849266544" sldId="256"/>
            <ac:spMk id="474" creationId="{86AF6335-CD4E-781E-797A-947E89EA6162}"/>
          </ac:spMkLst>
        </pc:spChg>
        <pc:spChg chg="add del mod modVis">
          <ac:chgData name="Selvyn Yovany Martinez Barahona" userId="3ccf779dc7355a40" providerId="LiveId" clId="{176DFD19-9071-4B24-AA88-5DC23F609659}" dt="2022-11-18T03:12:19.623" v="9182"/>
          <ac:spMkLst>
            <pc:docMk/>
            <pc:sldMk cId="849266544" sldId="256"/>
            <ac:spMk id="476" creationId="{6C8A0238-0458-AA39-1713-5F39173844D2}"/>
          </ac:spMkLst>
        </pc:spChg>
        <pc:spChg chg="add del mod modVis">
          <ac:chgData name="Selvyn Yovany Martinez Barahona" userId="3ccf779dc7355a40" providerId="LiveId" clId="{176DFD19-9071-4B24-AA88-5DC23F609659}" dt="2022-11-18T03:12:33.451" v="9317"/>
          <ac:spMkLst>
            <pc:docMk/>
            <pc:sldMk cId="849266544" sldId="256"/>
            <ac:spMk id="478" creationId="{77DEB970-1BB9-B919-84FC-0ED7FFEEA991}"/>
          </ac:spMkLst>
        </pc:spChg>
        <pc:spChg chg="add del mod modVis">
          <ac:chgData name="Selvyn Yovany Martinez Barahona" userId="3ccf779dc7355a40" providerId="LiveId" clId="{176DFD19-9071-4B24-AA88-5DC23F609659}" dt="2022-11-18T03:12:37.780" v="9452"/>
          <ac:spMkLst>
            <pc:docMk/>
            <pc:sldMk cId="849266544" sldId="256"/>
            <ac:spMk id="480" creationId="{6B26876E-AF1C-0596-F896-1EB66F974372}"/>
          </ac:spMkLst>
        </pc:spChg>
        <pc:spChg chg="add del mod modVis">
          <ac:chgData name="Selvyn Yovany Martinez Barahona" userId="3ccf779dc7355a40" providerId="LiveId" clId="{176DFD19-9071-4B24-AA88-5DC23F609659}" dt="2022-11-18T03:12:43.688" v="9587"/>
          <ac:spMkLst>
            <pc:docMk/>
            <pc:sldMk cId="849266544" sldId="256"/>
            <ac:spMk id="482" creationId="{83336727-DE64-4962-4FCC-8D4F5E0E9550}"/>
          </ac:spMkLst>
        </pc:spChg>
        <pc:spChg chg="add del mod modVis">
          <ac:chgData name="Selvyn Yovany Martinez Barahona" userId="3ccf779dc7355a40" providerId="LiveId" clId="{176DFD19-9071-4B24-AA88-5DC23F609659}" dt="2022-11-18T03:18:29" v="9743"/>
          <ac:spMkLst>
            <pc:docMk/>
            <pc:sldMk cId="849266544" sldId="256"/>
            <ac:spMk id="484" creationId="{5FA1455B-EDF9-CA59-7999-C5449B904FB1}"/>
          </ac:spMkLst>
        </pc:spChg>
        <pc:spChg chg="add del mod modVis">
          <ac:chgData name="Selvyn Yovany Martinez Barahona" userId="3ccf779dc7355a40" providerId="LiveId" clId="{176DFD19-9071-4B24-AA88-5DC23F609659}" dt="2022-11-18T03:19:46.580" v="9899"/>
          <ac:spMkLst>
            <pc:docMk/>
            <pc:sldMk cId="849266544" sldId="256"/>
            <ac:spMk id="487" creationId="{845F1D37-8AC3-6C1D-AD6D-A5B9CAB81FE6}"/>
          </ac:spMkLst>
        </pc:spChg>
        <pc:spChg chg="add del mod modVis">
          <ac:chgData name="Selvyn Yovany Martinez Barahona" userId="3ccf779dc7355a40" providerId="LiveId" clId="{176DFD19-9071-4B24-AA88-5DC23F609659}" dt="2022-11-18T03:43:22.013" v="10035"/>
          <ac:spMkLst>
            <pc:docMk/>
            <pc:sldMk cId="849266544" sldId="256"/>
            <ac:spMk id="490" creationId="{A56AC53B-756C-81A0-0107-3E26CAD63AA8}"/>
          </ac:spMkLst>
        </pc:spChg>
        <pc:spChg chg="add del mod modVis">
          <ac:chgData name="Selvyn Yovany Martinez Barahona" userId="3ccf779dc7355a40" providerId="LiveId" clId="{176DFD19-9071-4B24-AA88-5DC23F609659}" dt="2022-11-18T03:43:28.344" v="10221"/>
          <ac:spMkLst>
            <pc:docMk/>
            <pc:sldMk cId="849266544" sldId="256"/>
            <ac:spMk id="492" creationId="{19B7DBCE-31F6-2369-0656-9FDCFE06CA4C}"/>
          </ac:spMkLst>
        </pc:spChg>
        <pc:spChg chg="add del mod modVis">
          <ac:chgData name="Selvyn Yovany Martinez Barahona" userId="3ccf779dc7355a40" providerId="LiveId" clId="{176DFD19-9071-4B24-AA88-5DC23F609659}" dt="2022-11-18T03:43:42.043" v="10355"/>
          <ac:spMkLst>
            <pc:docMk/>
            <pc:sldMk cId="849266544" sldId="256"/>
            <ac:spMk id="494" creationId="{275CC632-83BA-86A3-9914-3B782929A9B0}"/>
          </ac:spMkLst>
        </pc:spChg>
        <pc:spChg chg="add del mod modVis">
          <ac:chgData name="Selvyn Yovany Martinez Barahona" userId="3ccf779dc7355a40" providerId="LiveId" clId="{176DFD19-9071-4B24-AA88-5DC23F609659}" dt="2022-11-18T03:43:49.937" v="10528"/>
          <ac:spMkLst>
            <pc:docMk/>
            <pc:sldMk cId="849266544" sldId="256"/>
            <ac:spMk id="496" creationId="{574EE19A-AECF-26F7-6348-E6D179D8D26A}"/>
          </ac:spMkLst>
        </pc:spChg>
        <pc:graphicFrameChg chg="add del mod ord replST">
          <ac:chgData name="Selvyn Yovany Martinez Barahona" userId="3ccf779dc7355a40" providerId="LiveId" clId="{176DFD19-9071-4B24-AA88-5DC23F609659}" dt="2022-11-18T02:51:20.159" v="3093"/>
          <ac:graphicFrameMkLst>
            <pc:docMk/>
            <pc:sldMk cId="849266544" sldId="256"/>
            <ac:graphicFrameMk id="3" creationId="{D2E8DBCA-E70C-D175-5372-A226706F5712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2:51:41.010" v="3569"/>
          <ac:graphicFrameMkLst>
            <pc:docMk/>
            <pc:sldMk cId="849266544" sldId="256"/>
            <ac:graphicFrameMk id="4" creationId="{F4267790-173E-201E-AB74-DF98393BBCEC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2:51:41.026" v="3588"/>
          <ac:graphicFrameMkLst>
            <pc:docMk/>
            <pc:sldMk cId="849266544" sldId="256"/>
            <ac:graphicFrameMk id="5" creationId="{1EBF0A35-1F30-F14D-A625-98F345D893C1}"/>
          </ac:graphicFrameMkLst>
        </pc:graphicFrameChg>
        <pc:graphicFrameChg chg="mod">
          <ac:chgData name="Selvyn Yovany Martinez Barahona" userId="3ccf779dc7355a40" providerId="LiveId" clId="{176DFD19-9071-4B24-AA88-5DC23F609659}" dt="2022-11-18T03:44:08.363" v="10700"/>
          <ac:graphicFrameMkLst>
            <pc:docMk/>
            <pc:sldMk cId="849266544" sldId="256"/>
            <ac:graphicFrameMk id="9" creationId="{94F6DDB2-4988-6D60-A3BC-07C92A74F16B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2:51:44.767" v="3681"/>
          <ac:graphicFrameMkLst>
            <pc:docMk/>
            <pc:sldMk cId="849266544" sldId="256"/>
            <ac:graphicFrameMk id="12" creationId="{6570D037-3C93-6CE5-2379-B3C4D6166539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2:51:59.050" v="4226"/>
          <ac:graphicFrameMkLst>
            <pc:docMk/>
            <pc:sldMk cId="849266544" sldId="256"/>
            <ac:graphicFrameMk id="13" creationId="{425E93D9-1E5D-CABB-0A00-64CE09ED4253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2:51:54.148" v="3768"/>
          <ac:graphicFrameMkLst>
            <pc:docMk/>
            <pc:sldMk cId="849266544" sldId="256"/>
            <ac:graphicFrameMk id="14" creationId="{FE219A26-F621-2A41-0F65-270F64A0D130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2:51:54.861" v="3933"/>
          <ac:graphicFrameMkLst>
            <pc:docMk/>
            <pc:sldMk cId="849266544" sldId="256"/>
            <ac:graphicFrameMk id="15" creationId="{2EBEC890-7371-B65F-470D-100C6A4A94B7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2:51:57.404" v="4010"/>
          <ac:graphicFrameMkLst>
            <pc:docMk/>
            <pc:sldMk cId="849266544" sldId="256"/>
            <ac:graphicFrameMk id="17" creationId="{CC12AE94-CCA1-94E3-7ACA-177AE3EF9B60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2:51:58.198" v="4085"/>
          <ac:graphicFrameMkLst>
            <pc:docMk/>
            <pc:sldMk cId="849266544" sldId="256"/>
            <ac:graphicFrameMk id="18" creationId="{01B50015-3DA0-24B2-C3E4-100B7DC6BF29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2:51:59.036" v="4207"/>
          <ac:graphicFrameMkLst>
            <pc:docMk/>
            <pc:sldMk cId="849266544" sldId="256"/>
            <ac:graphicFrameMk id="19" creationId="{3590559C-924B-F7E4-5F7F-F831F4CAE889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3:20.379" v="4702"/>
          <ac:graphicFrameMkLst>
            <pc:docMk/>
            <pc:sldMk cId="849266544" sldId="256"/>
            <ac:graphicFrameMk id="21" creationId="{D3E47005-3DD8-EAC7-C703-7F27B96ECAB2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3:20.392" v="4721"/>
          <ac:graphicFrameMkLst>
            <pc:docMk/>
            <pc:sldMk cId="849266544" sldId="256"/>
            <ac:graphicFrameMk id="22" creationId="{FE42C5EB-156A-FF91-C542-75194D521AE0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3:25.155" v="4814"/>
          <ac:graphicFrameMkLst>
            <pc:docMk/>
            <pc:sldMk cId="849266544" sldId="256"/>
            <ac:graphicFrameMk id="28" creationId="{8F35EEB3-F504-16BF-BA90-E58908C60DC3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6:20.806" v="6519"/>
          <ac:graphicFrameMkLst>
            <pc:docMk/>
            <pc:sldMk cId="849266544" sldId="256"/>
            <ac:graphicFrameMk id="29" creationId="{9D669673-AAC3-BACC-4256-32BD9DB18B32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3:35.765" v="5031"/>
          <ac:graphicFrameMkLst>
            <pc:docMk/>
            <pc:sldMk cId="849266544" sldId="256"/>
            <ac:graphicFrameMk id="30" creationId="{7464D0A0-64DC-BFE7-4C78-F7F98ADB3511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3:43.158" v="5120"/>
          <ac:graphicFrameMkLst>
            <pc:docMk/>
            <pc:sldMk cId="849266544" sldId="256"/>
            <ac:graphicFrameMk id="32" creationId="{AC978A3A-0E65-6CB4-AA80-F86440ADAD2C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4:00.757" v="5254"/>
          <ac:graphicFrameMkLst>
            <pc:docMk/>
            <pc:sldMk cId="849266544" sldId="256"/>
            <ac:graphicFrameMk id="33" creationId="{306C685A-4833-A856-B17D-AB9F4BAA91C4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4:14.243" v="5390"/>
          <ac:graphicFrameMkLst>
            <pc:docMk/>
            <pc:sldMk cId="849266544" sldId="256"/>
            <ac:graphicFrameMk id="35" creationId="{CDB0D7ED-55BB-BD1C-3056-E95B77D7312F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4:23.450" v="5479"/>
          <ac:graphicFrameMkLst>
            <pc:docMk/>
            <pc:sldMk cId="849266544" sldId="256"/>
            <ac:graphicFrameMk id="37" creationId="{2BC5AD40-21CC-C4D8-9FEC-B399A33EE330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4:41.923" v="5613"/>
          <ac:graphicFrameMkLst>
            <pc:docMk/>
            <pc:sldMk cId="849266544" sldId="256"/>
            <ac:graphicFrameMk id="38" creationId="{41826500-F02D-5FD8-BC92-E3617354BD10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4:52.962" v="5749"/>
          <ac:graphicFrameMkLst>
            <pc:docMk/>
            <pc:sldMk cId="849266544" sldId="256"/>
            <ac:graphicFrameMk id="40" creationId="{FE2F9B10-8F15-E6A3-284D-7A081AD974C1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5:01.399" v="5887"/>
          <ac:graphicFrameMkLst>
            <pc:docMk/>
            <pc:sldMk cId="849266544" sldId="256"/>
            <ac:graphicFrameMk id="42" creationId="{3FE7CC04-C6E0-0B29-05F9-6DA8C6327526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5:14.292" v="6025"/>
          <ac:graphicFrameMkLst>
            <pc:docMk/>
            <pc:sldMk cId="849266544" sldId="256"/>
            <ac:graphicFrameMk id="44" creationId="{99DFE40A-F6D9-5881-F525-953E8BD77700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5:39.053" v="6226"/>
          <ac:graphicFrameMkLst>
            <pc:docMk/>
            <pc:sldMk cId="849266544" sldId="256"/>
            <ac:graphicFrameMk id="46" creationId="{350101C1-CCCC-CF2B-733B-B0AE893F914E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5:45.050" v="6315"/>
          <ac:graphicFrameMkLst>
            <pc:docMk/>
            <pc:sldMk cId="849266544" sldId="256"/>
            <ac:graphicFrameMk id="48" creationId="{685587F7-C7A4-6550-704C-4B13067E9A66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11:28.633" v="8354"/>
          <ac:graphicFrameMkLst>
            <pc:docMk/>
            <pc:sldMk cId="849266544" sldId="256"/>
            <ac:graphicFrameMk id="49" creationId="{A3EC9328-5819-5F0E-A5C2-2EFCBED57DB4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6:27.295" v="7058"/>
          <ac:graphicFrameMkLst>
            <pc:docMk/>
            <pc:sldMk cId="849266544" sldId="256"/>
            <ac:graphicFrameMk id="51" creationId="{6D721D88-F991-919D-F693-C9001E404190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6:38.505" v="7277"/>
          <ac:graphicFrameMkLst>
            <pc:docMk/>
            <pc:sldMk cId="849266544" sldId="256"/>
            <ac:graphicFrameMk id="58" creationId="{CD14C85A-D0C0-BB41-F884-19C88EC2DC63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7:10.493" v="7410"/>
          <ac:graphicFrameMkLst>
            <pc:docMk/>
            <pc:sldMk cId="849266544" sldId="256"/>
            <ac:graphicFrameMk id="60" creationId="{720C932B-9873-2D13-C35F-241B39F975E1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7:17.848" v="7543"/>
          <ac:graphicFrameMkLst>
            <pc:docMk/>
            <pc:sldMk cId="849266544" sldId="256"/>
            <ac:graphicFrameMk id="62" creationId="{C4238B31-170D-833A-8D27-10A02010D8DB}"/>
          </ac:graphicFrameMkLst>
        </pc:graphicFrameChg>
        <pc:graphicFrameChg chg="del">
          <ac:chgData name="Selvyn Yovany Martinez Barahona" userId="3ccf779dc7355a40" providerId="LiveId" clId="{176DFD19-9071-4B24-AA88-5DC23F609659}" dt="2022-11-08T00:30:19.095" v="247"/>
          <ac:graphicFrameMkLst>
            <pc:docMk/>
            <pc:sldMk cId="849266544" sldId="256"/>
            <ac:graphicFrameMk id="445" creationId="{A350EA1E-8F2E-86C1-EE27-46E4A1B69F6A}"/>
          </ac:graphicFrameMkLst>
        </pc:graphicFrameChg>
        <pc:graphicFrameChg chg="del">
          <ac:chgData name="Selvyn Yovany Martinez Barahona" userId="3ccf779dc7355a40" providerId="LiveId" clId="{176DFD19-9071-4B24-AA88-5DC23F609659}" dt="2022-11-08T00:30:19.114" v="262"/>
          <ac:graphicFrameMkLst>
            <pc:docMk/>
            <pc:sldMk cId="849266544" sldId="256"/>
            <ac:graphicFrameMk id="446" creationId="{65D56728-2A2D-5815-8F3F-AFB0396FBFA7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26.354" v="336"/>
          <ac:graphicFrameMkLst>
            <pc:docMk/>
            <pc:sldMk cId="849266544" sldId="256"/>
            <ac:graphicFrameMk id="448" creationId="{2ADC7BE8-DE69-3849-FFD3-DD4D2FF9CB66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7:24.864" v="7678"/>
          <ac:graphicFrameMkLst>
            <pc:docMk/>
            <pc:sldMk cId="849266544" sldId="256"/>
            <ac:graphicFrameMk id="448" creationId="{4A3AFDA2-951D-B0FF-3589-2324A6CDC3B6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44.639" v="1202"/>
          <ac:graphicFrameMkLst>
            <pc:docMk/>
            <pc:sldMk cId="849266544" sldId="256"/>
            <ac:graphicFrameMk id="449" creationId="{952F918A-EA36-6C76-C97E-16A59C6797CD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32.157" v="455"/>
          <ac:graphicFrameMkLst>
            <pc:docMk/>
            <pc:sldMk cId="849266544" sldId="256"/>
            <ac:graphicFrameMk id="450" creationId="{271A37D0-85D3-20C0-E39B-D55978945731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7:33.443" v="7813"/>
          <ac:graphicFrameMkLst>
            <pc:docMk/>
            <pc:sldMk cId="849266544" sldId="256"/>
            <ac:graphicFrameMk id="450" creationId="{D4BAC420-A9EF-A5D0-2A09-7DB0C7A89442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37.632" v="529"/>
          <ac:graphicFrameMkLst>
            <pc:docMk/>
            <pc:sldMk cId="849266544" sldId="256"/>
            <ac:graphicFrameMk id="452" creationId="{7F3FF725-2A47-BE20-1B08-92318A058139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7:41.021" v="7948"/>
          <ac:graphicFrameMkLst>
            <pc:docMk/>
            <pc:sldMk cId="849266544" sldId="256"/>
            <ac:graphicFrameMk id="452" creationId="{85C73E77-D16F-345C-F9E8-C5ABB35C0238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42.662" v="648"/>
          <ac:graphicFrameMkLst>
            <pc:docMk/>
            <pc:sldMk cId="849266544" sldId="256"/>
            <ac:graphicFrameMk id="453" creationId="{FB9BCF33-DE14-0096-FF06-5723D8B9F76B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7:49.223" v="8083"/>
          <ac:graphicFrameMkLst>
            <pc:docMk/>
            <pc:sldMk cId="849266544" sldId="256"/>
            <ac:graphicFrameMk id="454" creationId="{79511F56-F2AB-4DB5-AEA5-7436BBA1B7AC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44.627" v="1187"/>
          <ac:graphicFrameMkLst>
            <pc:docMk/>
            <pc:sldMk cId="849266544" sldId="256"/>
            <ac:graphicFrameMk id="455" creationId="{9C0090BD-66B9-1F53-2D37-5B70FF7AAAB9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07:53.199" v="8218"/>
          <ac:graphicFrameMkLst>
            <pc:docMk/>
            <pc:sldMk cId="849266544" sldId="256"/>
            <ac:graphicFrameMk id="456" creationId="{D87191AF-BF4E-45C8-EDDE-722AE8DF194C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2:51:20.105" v="3036"/>
          <ac:graphicFrameMkLst>
            <pc:docMk/>
            <pc:sldMk cId="849266544" sldId="256"/>
            <ac:graphicFrameMk id="462" creationId="{FE7E016F-660B-7432-CC61-F44D24B69DED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5:29:39.181" v="2768"/>
          <ac:graphicFrameMkLst>
            <pc:docMk/>
            <pc:sldMk cId="849266544" sldId="256"/>
            <ac:graphicFrameMk id="463" creationId="{3A984127-996E-BA42-FDDD-4539A83BB14B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12:06.952" v="8850"/>
          <ac:graphicFrameMkLst>
            <pc:docMk/>
            <pc:sldMk cId="849266544" sldId="256"/>
            <ac:graphicFrameMk id="464" creationId="{5E510D8A-48DE-0B09-BDDE-298C32D355B0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7.002" v="2499" actId="1076"/>
          <ac:graphicFrameMkLst>
            <pc:docMk/>
            <pc:sldMk cId="849266544" sldId="256"/>
            <ac:graphicFrameMk id="465" creationId="{E80F7508-93FE-C19F-C6AE-87DE146340DC}"/>
          </ac:graphicFrameMkLst>
        </pc:graphicFrameChg>
        <pc:graphicFrameChg chg="add mod ord replST delST">
          <ac:chgData name="Selvyn Yovany Martinez Barahona" userId="3ccf779dc7355a40" providerId="LiveId" clId="{176DFD19-9071-4B24-AA88-5DC23F609659}" dt="2022-11-08T00:33:47" v="2490" actId="1076"/>
          <ac:graphicFrameMkLst>
            <pc:docMk/>
            <pc:sldMk cId="849266544" sldId="256"/>
            <ac:graphicFrameMk id="466" creationId="{CD531800-BBAC-7DB6-290E-263C489B6B9E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11:39.025" v="8490"/>
          <ac:graphicFrameMkLst>
            <pc:docMk/>
            <pc:sldMk cId="849266544" sldId="256"/>
            <ac:graphicFrameMk id="466" creationId="{D500B6D5-B737-9CB5-5846-F8AE0B94DD4B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5.719" v="2469"/>
          <ac:graphicFrameMkLst>
            <pc:docMk/>
            <pc:sldMk cId="849266544" sldId="256"/>
            <ac:graphicFrameMk id="467" creationId="{3D68EE8B-D5DE-71BC-E783-FA6537FC6110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11:43.500" v="8626"/>
          <ac:graphicFrameMkLst>
            <pc:docMk/>
            <pc:sldMk cId="849266544" sldId="256"/>
            <ac:graphicFrameMk id="468" creationId="{4231AB39-B045-0876-65CF-B9D226122017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11:55.491" v="8762"/>
          <ac:graphicFrameMkLst>
            <pc:docMk/>
            <pc:sldMk cId="849266544" sldId="256"/>
            <ac:graphicFrameMk id="470" creationId="{6A6AF5E1-8A2D-DBCF-85AC-2AC58904D67C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5.132" v="2447"/>
          <ac:graphicFrameMkLst>
            <pc:docMk/>
            <pc:sldMk cId="849266544" sldId="256"/>
            <ac:graphicFrameMk id="470" creationId="{A270799A-9B3A-D67B-B9FB-8F4DEBC286B9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18:28.963" v="9657"/>
          <ac:graphicFrameMkLst>
            <pc:docMk/>
            <pc:sldMk cId="849266544" sldId="256"/>
            <ac:graphicFrameMk id="472" creationId="{AE992DAD-59A8-7547-159B-E73FB69721B8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12:12.414" v="8981"/>
          <ac:graphicFrameMkLst>
            <pc:docMk/>
            <pc:sldMk cId="849266544" sldId="256"/>
            <ac:graphicFrameMk id="473" creationId="{58D91DE2-3E3B-858D-C8D5-4333C13A76BF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5.132" v="2447"/>
          <ac:graphicFrameMkLst>
            <pc:docMk/>
            <pc:sldMk cId="849266544" sldId="256"/>
            <ac:graphicFrameMk id="473" creationId="{8952AE4A-8006-92D0-2502-8B04780502C1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4.234" v="2229"/>
          <ac:graphicFrameMkLst>
            <pc:docMk/>
            <pc:sldMk cId="849266544" sldId="256"/>
            <ac:graphicFrameMk id="475" creationId="{547E4975-53E5-8C12-5A08-8C747245BDC3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12:19.599" v="9116"/>
          <ac:graphicFrameMkLst>
            <pc:docMk/>
            <pc:sldMk cId="849266544" sldId="256"/>
            <ac:graphicFrameMk id="475" creationId="{EA22EFEF-A990-D073-2FC6-0EA858308E7C}"/>
          </ac:graphicFrameMkLst>
        </pc:graphicFrameChg>
        <pc:graphicFrameChg chg="add mod ord replST delST">
          <ac:chgData name="Selvyn Yovany Martinez Barahona" userId="3ccf779dc7355a40" providerId="LiveId" clId="{176DFD19-9071-4B24-AA88-5DC23F609659}" dt="2022-11-08T00:33:44.234" v="2229"/>
          <ac:graphicFrameMkLst>
            <pc:docMk/>
            <pc:sldMk cId="849266544" sldId="256"/>
            <ac:graphicFrameMk id="476" creationId="{764FF080-E647-F290-5FBD-8BBC00267995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12:33.432" v="9251"/>
          <ac:graphicFrameMkLst>
            <pc:docMk/>
            <pc:sldMk cId="849266544" sldId="256"/>
            <ac:graphicFrameMk id="477" creationId="{604BFEFF-3F9A-CEBC-E855-55088FB3B464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12:37.758" v="9386"/>
          <ac:graphicFrameMkLst>
            <pc:docMk/>
            <pc:sldMk cId="849266544" sldId="256"/>
            <ac:graphicFrameMk id="479" creationId="{69C239A6-9659-D1FC-C1AF-A1D573FCB7EF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12:43.666" v="9521"/>
          <ac:graphicFrameMkLst>
            <pc:docMk/>
            <pc:sldMk cId="849266544" sldId="256"/>
            <ac:graphicFrameMk id="481" creationId="{9D240AAC-A410-3503-0D21-1D76FACBC14A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18:28.979" v="9673"/>
          <ac:graphicFrameMkLst>
            <pc:docMk/>
            <pc:sldMk cId="849266544" sldId="256"/>
            <ac:graphicFrameMk id="483" creationId="{B0F4275D-8CBF-BB74-C3AC-54B96AA1675B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19:46.543" v="9813"/>
          <ac:graphicFrameMkLst>
            <pc:docMk/>
            <pc:sldMk cId="849266544" sldId="256"/>
            <ac:graphicFrameMk id="485" creationId="{F36F5B0E-C84E-1DEB-5332-9E02CB93CE10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19:46.560" v="9831"/>
          <ac:graphicFrameMkLst>
            <pc:docMk/>
            <pc:sldMk cId="849266544" sldId="256"/>
            <ac:graphicFrameMk id="486" creationId="{367B603A-FA44-F6A9-8573-E528D3FD6A89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43:21.989" v="9969"/>
          <ac:graphicFrameMkLst>
            <pc:docMk/>
            <pc:sldMk cId="849266544" sldId="256"/>
            <ac:graphicFrameMk id="488" creationId="{231C64E1-F119-3F5C-86B9-5C6752906BCA}"/>
          </ac:graphicFrameMkLst>
        </pc:graphicFrameChg>
        <pc:graphicFrameChg chg="add mod ord replST">
          <ac:chgData name="Selvyn Yovany Martinez Barahona" userId="3ccf779dc7355a40" providerId="LiveId" clId="{176DFD19-9071-4B24-AA88-5DC23F609659}" dt="2022-11-18T03:44:08.356" v="10674"/>
          <ac:graphicFrameMkLst>
            <pc:docMk/>
            <pc:sldMk cId="849266544" sldId="256"/>
            <ac:graphicFrameMk id="489" creationId="{EE4F1251-00F0-114E-CC45-94FF57E81E85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43:28.322" v="10157"/>
          <ac:graphicFrameMkLst>
            <pc:docMk/>
            <pc:sldMk cId="849266544" sldId="256"/>
            <ac:graphicFrameMk id="491" creationId="{F73EB82F-8CDB-6BFA-1554-FA5002E233A4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43:42.021" v="10291"/>
          <ac:graphicFrameMkLst>
            <pc:docMk/>
            <pc:sldMk cId="849266544" sldId="256"/>
            <ac:graphicFrameMk id="493" creationId="{285C7E3A-77D9-FF0B-68EA-93B15DA27F3F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43:49.916" v="10464"/>
          <ac:graphicFrameMkLst>
            <pc:docMk/>
            <pc:sldMk cId="849266544" sldId="256"/>
            <ac:graphicFrameMk id="495" creationId="{22E6D88E-6E1A-8768-7290-0BF6468DA431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44:03.791" v="10551"/>
          <ac:graphicFrameMkLst>
            <pc:docMk/>
            <pc:sldMk cId="849266544" sldId="256"/>
            <ac:graphicFrameMk id="497" creationId="{53E30A1A-48FC-4C03-76D6-B3535DA13AA6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8T03:44:08.339" v="10636"/>
          <ac:graphicFrameMkLst>
            <pc:docMk/>
            <pc:sldMk cId="849266544" sldId="256"/>
            <ac:graphicFrameMk id="498" creationId="{86DC74B4-D53F-769E-F2E3-27E1E42CAA72}"/>
          </ac:graphicFrameMkLst>
        </pc:graphicFrameChg>
        <pc:graphicFrameChg chg="add mod ord replST">
          <ac:chgData name="Selvyn Yovany Martinez Barahona" userId="3ccf779dc7355a40" providerId="LiveId" clId="{176DFD19-9071-4B24-AA88-5DC23F609659}" dt="2022-11-18T03:44:08.351" v="10644"/>
          <ac:graphicFrameMkLst>
            <pc:docMk/>
            <pc:sldMk cId="849266544" sldId="256"/>
            <ac:graphicFrameMk id="499" creationId="{06981403-D4C8-139F-FFA1-4AF8690D9C8C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963133640552997E-2"/>
          <c:y val="2.3963133640552997E-2"/>
          <c:w val="0.95207373271889406"/>
          <c:h val="0.9520737327188940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810-4C29-8417-44EC3335E91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810-4C29-8417-44EC3335E91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810-4C29-8417-44EC3335E91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810-4C29-8417-44EC3335E912}"/>
              </c:ext>
            </c:extLst>
          </c:dPt>
          <c:dPt>
            <c:idx val="4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4810-4C29-8417-44EC3335E912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4810-4C29-8417-44EC3335E912}"/>
              </c:ext>
            </c:extLst>
          </c:dPt>
          <c:dLbls>
            <c:dLbl>
              <c:idx val="0"/>
              <c:layout>
                <c:manualLayout>
                  <c:x val="2.3502304147465437E-2"/>
                  <c:y val="5.622119815668202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810-4C29-8417-44EC3335E91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87.770704081100774</c:v>
                </c:pt>
                <c:pt idx="1">
                  <c:v>1.2120626269760846</c:v>
                </c:pt>
                <c:pt idx="2">
                  <c:v>1.3491099741269266</c:v>
                </c:pt>
                <c:pt idx="3">
                  <c:v>3.0565958924939576</c:v>
                </c:pt>
                <c:pt idx="4">
                  <c:v>3.2360065756617038</c:v>
                </c:pt>
                <c:pt idx="5">
                  <c:v>3.37552084964038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810-4C29-8417-44EC3335E9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963133640552997E-2"/>
          <c:y val="2.3963133640552997E-2"/>
          <c:w val="0.95207373271889406"/>
          <c:h val="0.9520737327188940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890-45CC-8BE2-F0F06A38166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890-45CC-8BE2-F0F06A38166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890-45CC-8BE2-F0F06A38166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890-45CC-8BE2-F0F06A381667}"/>
              </c:ext>
            </c:extLst>
          </c:dPt>
          <c:dPt>
            <c:idx val="4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890-45CC-8BE2-F0F06A38166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890-45CC-8BE2-F0F06A381667}"/>
              </c:ext>
            </c:extLst>
          </c:dPt>
          <c:dLbls>
            <c:dLbl>
              <c:idx val="0"/>
              <c:layout>
                <c:manualLayout>
                  <c:x val="2.5806451612903226E-2"/>
                  <c:y val="5.2073732718894011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890-45CC-8BE2-F0F06A381667}"/>
                </c:ext>
              </c:extLst>
            </c:dLbl>
            <c:dLbl>
              <c:idx val="5"/>
              <c:layout>
                <c:manualLayout>
                  <c:x val="-1.1520737327188941E-2"/>
                  <c:y val="-7.8341013824884786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890-45CC-8BE2-F0F06A3816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85.741157031144922</c:v>
                </c:pt>
                <c:pt idx="1">
                  <c:v>1.5926950640767001</c:v>
                </c:pt>
                <c:pt idx="2">
                  <c:v>1.9118296923934137</c:v>
                </c:pt>
                <c:pt idx="3">
                  <c:v>2.5897746267796418</c:v>
                </c:pt>
                <c:pt idx="4">
                  <c:v>3.4523603665917344</c:v>
                </c:pt>
                <c:pt idx="5">
                  <c:v>4.71218321901358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890-45CC-8BE2-F0F06A3816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D4E3FC-8A7F-6BF2-78CA-C13DCF3255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693104-09D5-E59B-34F6-85ADB42AE5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A51190-6082-D63D-843A-4ED8F0B2B2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025541-CA7C-0B80-0394-81DD82BEE0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A893EF-8CCF-961B-058A-47618437DF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5700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68E742-F967-14B9-7050-1DD1A04C8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EDBEC6E-D02A-864B-4EA3-A8ABBCD325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6F13C1-790D-EC82-24D7-25B4EC3C4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FF85FC-910B-2323-5305-11CE19BE1E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9361FC-FCAA-2EF7-EABF-49A2D9DBC3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7570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7D2C92-0AB6-1303-C9DE-5BDD2C048E1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D371D37-8FDD-12BE-D450-44722E6097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ABAC4A-C2BE-6FBB-4FCF-67DC37E006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B8C5F9-8360-DE8F-3054-2B5638A04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5617E3-600D-70FC-7F6C-86AB6D28A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149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30DC9-5502-86E5-41B8-6C2C12F8CE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DDEEB-9872-06C9-A026-00ACE158D9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ABF3DE-C1BA-8881-BAA2-1581D8C57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55C896-00BF-9E5C-9E2E-8526135C8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BDC7B1-009E-CFF5-8DCF-9953544A4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050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365BC0-E308-E3FA-DBA1-A71AFEB886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2D6B35-54A0-BEB7-3824-13BA21F951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37A3EF-193D-6CD4-51B1-FB9654BEAE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6E58E2-56CB-C81A-21C8-8F1B80C05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6748C2-E657-40B3-5159-A6F4A73C0D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9850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1F8F06-9A04-3BB0-522D-C2CACCB6A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62EF2F-4302-A8C6-C218-3B625C09755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013C58-DEA4-DE02-8C54-5E6E21F27D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157F4C-2E98-AB25-32E9-7C2C5CB42A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2970EF-45D7-53E7-B132-CFDF1D8D0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16FA54-7458-D110-E2E0-40D277589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6411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351D5-AD9F-E34C-FD13-8267285BA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1CCF9C-298B-800A-5BCB-0854F8DA8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68809A6-2482-A99C-9515-054425968B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8C45B3-057E-CD50-EF45-70AABB36FA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1C00656-EFFA-EE87-95F8-7472ECF741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816244-1CB3-DB32-C838-11810F57A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A221637-6EDC-95F8-F3C8-CD3528A788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A68065-9923-F5AB-98D1-D6F59F437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125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358214-4B87-B3FA-9FE4-18BB4359E4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99D291-0888-4981-5F2A-790AAFD86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B96BB9-8CE2-C950-9B39-F19A13D9D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1131C3-03EE-5A69-BEDF-9CF1D0FA1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6714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97563F-55D7-346C-DD03-FD0DB2E5DD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6B6882-7BC3-0CAD-DEEE-343D789B0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CA51FF-E8D0-DDFA-5745-D6CD7D997B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56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33073-CAEC-8EBA-7070-BF2C74900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2D1335-84BA-6DAA-AB9A-BD12121DEF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5A5255-0F25-B115-F5C0-48F0DDB064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2A23A3-D6D3-2504-1550-0665F5DFE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A1AD17-0D8C-1633-C803-D2F0D3E888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B31F59-5D62-3F42-2B49-6C00602F5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468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0F7CB-C742-430A-A84B-8D71C0D07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B126791-3C5F-5B3E-89A7-E008F0DD90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11998E-5100-3A5D-89B2-3FFCA7E84D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1A8776-8363-2A40-8B95-4FD1DE2B77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55AB35-BFE2-23D2-E871-4BAC3EE6F0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76C091-23F8-B22E-8C2F-7E33C588F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2888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7F5CCF-542E-3C09-8B6F-F007E8572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6427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7F5CCF-542E-3C09-8B6F-F007E8572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D721418-427A-CD21-6011-6E8615C14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092DAB-98AD-CAE2-1124-4644D0F5CF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4A95F8-A962-462E-B5CA-65B478895019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1EF73C-1DF7-1ABD-5362-AB94EFAA19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FE134D-C7E9-B0F2-2925-71E0CA0CCA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721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slideLayout" Target="../slideLayouts/slideLayout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chart" Target="../charts/chart1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41" Type="http://schemas.openxmlformats.org/officeDocument/2006/relationships/image" Target="../media/image1.emf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oleObject" Target="../embeddings/oleObject2.bin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chart" Target="../charts/chart2.xml"/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4F6DDB2-4988-6D60-A3BC-07C92A74F1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9017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25" imgH="424" progId="TCLayout.ActiveDocument.1">
                  <p:embed/>
                </p:oleObj>
              </mc:Choice>
              <mc:Fallback>
                <p:oleObj name="think-cell Slide" r:id="rId40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4F6DDB2-4988-6D60-A3BC-07C92A74F1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99" name="Chart 498">
            <a:extLst>
              <a:ext uri="{FF2B5EF4-FFF2-40B4-BE49-F238E27FC236}">
                <a16:creationId xmlns:a16="http://schemas.microsoft.com/office/drawing/2014/main" id="{06981403-D4C8-139F-FFA1-4AF8690D9C8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3911595"/>
              </p:ext>
            </p:extLst>
          </p:nvPr>
        </p:nvGraphicFramePr>
        <p:xfrm>
          <a:off x="101600" y="1244600"/>
          <a:ext cx="3444875" cy="3444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457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663575" y="1801813"/>
            <a:ext cx="403225" cy="1920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CA3028-C143-4286-84BB-287C22EE3EA0}" type="datetime'''''''''''1''.''2''''''''''''''''''''''''''''''''''%'">
              <a:rPr lang="en-US" altLang="en-US" sz="1400" smtClean="0">
                <a:effectLst/>
              </a:rPr>
              <a:pPr/>
              <a:t>1.2%</a:t>
            </a:fld>
            <a:endParaRPr lang="en-US" sz="14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273175" y="1795463"/>
            <a:ext cx="403225" cy="192088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64A3B9-B94F-49A0-B661-C9C48DC1A666}" type="datetime'''3''.''''''''''''''''''''''2''''''%''''''''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3.2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55675" y="1993900"/>
            <a:ext cx="403225" cy="192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B5C706-257C-42EF-ADFF-AAEFF205831D}" type="datetime'''''1''.''3''''''''''%'''''''''''">
              <a:rPr lang="en-US" altLang="en-US" sz="1400" smtClean="0">
                <a:effectLst/>
              </a:rPr>
              <a:pPr/>
              <a:t>1.3%</a:t>
            </a:fld>
            <a:endParaRPr lang="en-US" sz="14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11225" y="1603375"/>
            <a:ext cx="403225" cy="19208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10004D-1102-46B6-9585-F96112AE486D}" type="datetime'''''''''''3''.''1''''''''''''''''''''''''''''''''''''''%'">
              <a:rPr lang="en-US" altLang="en-US" sz="1400" smtClean="0">
                <a:effectLst/>
              </a:rPr>
              <a:pPr/>
              <a:t>3.1%</a:t>
            </a:fld>
            <a:endParaRPr lang="en-US" sz="1400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463675" y="1374775"/>
            <a:ext cx="403225" cy="19208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E09346-3BBD-4E84-B2CF-03266D32550F}" type="datetime'''''''''''''3''''''''''''.''4''''%''''''''''''''''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3.4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279525" y="2870200"/>
            <a:ext cx="10906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5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77D5D1-3364-4F85-9675-FAC69C070440}" type="datetime'''$''5,8''''''''''''4''6'',''14''0''''''''.1''6 '''''''''''''">
              <a:rPr lang="en-US" altLang="en-US" sz="1400" smtClean="0"/>
              <a:pPr/>
              <a:t>$5,846,140.16 </a:t>
            </a:fld>
            <a:endParaRPr lang="en-US" sz="1400" dirty="0"/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CFE16A47-45D9-1330-227A-6FA04AF148B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721100" y="21605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A95A17FA-3020-6F91-90B9-BE801BCA513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721100" y="1398588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ACB5FA66-420A-A81B-9515-200E417A761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721100" y="190658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52C7F6AE-BF4D-835B-F0D7-0E03307745E7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721100" y="1652588"/>
            <a:ext cx="250825" cy="187325"/>
          </a:xfrm>
          <a:prstGeom prst="rect">
            <a:avLst/>
          </a:prstGeom>
          <a:solidFill>
            <a:srgbClr val="C30C3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42BABA56-84CC-058A-9FA9-01E2AE4F30F6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721100" y="26685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FCAE7E1D-1499-C758-F9FE-00B9371A46F4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721100" y="24145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D2C85364-35B4-24C7-21A3-4F985EAEEE7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022725" y="1409700"/>
            <a:ext cx="2124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9D7D596-DC6E-46F9-A140-590D4A253A5C}" type="datetime'B''en a''n''''d'' Jerrys = $1''97'',3''''3''''''''7''.68'''">
              <a:rPr lang="en-US" altLang="en-US" sz="1400" smtClean="0"/>
              <a:pPr/>
              <a:t>Ben and Jerrys = $197,337.68</a:t>
            </a:fld>
            <a:endParaRPr lang="en-US" sz="1400" dirty="0"/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022725" y="1663700"/>
            <a:ext cx="1547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7FC453-4D40-44D6-8C24-4FEEB81839BF}" type="datetime'K''r''''''''o''ge''''''r'' = $1''''8''9,''''181.4''8'''''''">
              <a:rPr lang="en-US" altLang="en-US" sz="1400" smtClean="0"/>
              <a:pPr/>
              <a:t>Kroger = $189,181.48</a:t>
            </a:fld>
            <a:endParaRPr lang="en-US" sz="1400" dirty="0"/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35BF6085-E56A-8D0E-9B3C-4692F351187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022725" y="2679700"/>
            <a:ext cx="23923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BAD8510-9072-46F8-BB35-8998DFEB5254}" type="datetime'A''ll ''O''th''er ''B''ra''n''ds ='''''' $5'',131,198.38'''">
              <a:rPr lang="en-US" altLang="en-US" sz="1400" smtClean="0"/>
              <a:pPr/>
              <a:t>All Other Brands = $5,131,198.38</a:t>
            </a:fld>
            <a:endParaRPr lang="en-US" sz="1400" dirty="0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27C272A0-CD42-325D-2C62-C2A645DB0C1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022725" y="2425700"/>
            <a:ext cx="13271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4637349-F2A9-47FC-9B9A-70CE69E4D600}" type="datetime'Kr''af''t ''''''='''' ''$''70'',''''''8''5''''''8.''88'''">
              <a:rPr lang="en-US" altLang="en-US" sz="1400" smtClean="0"/>
              <a:pPr/>
              <a:t>Kraft = $70,858.88</a:t>
            </a:fld>
            <a:endParaRPr lang="en-US" sz="1400" dirty="0"/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022725" y="1917700"/>
            <a:ext cx="1587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654D1D-6DCF-45F5-A742-D90596AA8331}" type="datetime'H''y''-V''e''''e'''''''' = $''''''''17''''8,692''.8''8'''">
              <a:rPr lang="en-US" altLang="en-US" sz="1400" smtClean="0"/>
              <a:pPr/>
              <a:t>Hy-Vee = $178,692.88</a:t>
            </a:fld>
            <a:endParaRPr lang="en-US" sz="1400" dirty="0"/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35BB811B-08DE-AB67-F9FD-C573E1C72AC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022725" y="2171700"/>
            <a:ext cx="1362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C61769B-4543-4DC1-B7C2-3C0F6246F88B}" type="datetime'Peps''i ''''= $''''''''''''''''7''8,''8''''''7''0''.''86'''''">
              <a:rPr lang="en-US" altLang="en-US" sz="1400" smtClean="0"/>
              <a:pPr/>
              <a:t>Pepsi = $78,870.86</a:t>
            </a:fld>
            <a:endParaRPr lang="en-US" sz="1400" dirty="0"/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7C20ADE5-2FD0-8E3B-B4A5-8D535F5437A7}"/>
              </a:ext>
            </a:extLst>
          </p:cNvPr>
          <p:cNvSpPr txBox="1"/>
          <p:nvPr/>
        </p:nvSpPr>
        <p:spPr>
          <a:xfrm>
            <a:off x="0" y="571282"/>
            <a:ext cx="48572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j-lt"/>
              </a:rPr>
              <a:t>Spending share of the top</a:t>
            </a:r>
            <a:r>
              <a:rPr lang="en-US" b="0" dirty="0">
                <a:effectLst/>
                <a:latin typeface="+mj-lt"/>
              </a:rPr>
              <a:t> five brands among users who were created within the past 6 months</a:t>
            </a:r>
          </a:p>
        </p:txBody>
      </p:sp>
      <p:sp>
        <p:nvSpPr>
          <p:cNvPr id="385" name="Title 25">
            <a:extLst>
              <a:ext uri="{FF2B5EF4-FFF2-40B4-BE49-F238E27FC236}">
                <a16:creationId xmlns:a16="http://schemas.microsoft.com/office/drawing/2014/main" id="{046DFD33-DE3E-0A85-004B-7F5CE8942312}"/>
              </a:ext>
            </a:extLst>
          </p:cNvPr>
          <p:cNvSpPr txBox="1">
            <a:spLocks/>
          </p:cNvSpPr>
          <p:nvPr/>
        </p:nvSpPr>
        <p:spPr>
          <a:xfrm>
            <a:off x="6588125" y="653668"/>
            <a:ext cx="5184775" cy="59093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800" dirty="0"/>
              <a:t>Transaction share of the top five brands among users who were created within the past 6 months</a:t>
            </a:r>
          </a:p>
        </p:txBody>
      </p:sp>
      <p:graphicFrame>
        <p:nvGraphicFramePr>
          <p:cNvPr id="489" name="Chart 488">
            <a:extLst>
              <a:ext uri="{FF2B5EF4-FFF2-40B4-BE49-F238E27FC236}">
                <a16:creationId xmlns:a16="http://schemas.microsoft.com/office/drawing/2014/main" id="{EE4F1251-00F0-114E-CC45-94FF57E81E85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969537925"/>
              </p:ext>
            </p:extLst>
          </p:nvPr>
        </p:nvGraphicFramePr>
        <p:xfrm>
          <a:off x="6588125" y="1244600"/>
          <a:ext cx="3444875" cy="3444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299325" y="1673225"/>
            <a:ext cx="403225" cy="19208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6FDCAC-CC9C-471E-89C4-16429C330D25}" type="datetime'''''''''2''''''''''''''.''''''''''''''''6%'''''''''">
              <a:rPr lang="en-US" altLang="en-US" sz="1400" smtClean="0">
                <a:effectLst/>
              </a:rPr>
              <a:pPr/>
              <a:t>2.6%</a:t>
            </a:fld>
            <a:endParaRPr lang="en-US" sz="1400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037388" y="1922463"/>
            <a:ext cx="403225" cy="1920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1EB4FA-3D16-44D6-BFF4-EB85D306101B}" type="datetime'1''''''''''''.''''''''''''''6''''''''''''''''''''%'''''">
              <a:rPr lang="en-US" altLang="en-US" sz="1400" smtClean="0">
                <a:effectLst/>
              </a:rPr>
              <a:pPr/>
              <a:t>1.6%</a:t>
            </a:fld>
            <a:endParaRPr lang="en-US" sz="1400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415213" y="2105025"/>
            <a:ext cx="403225" cy="192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EBE88C-D42F-4734-AF3E-958D5B16FAA6}" type="datetime'1''''''''''''''''''''''.''''''''''''9''''''''''''''''%'''''''">
              <a:rPr lang="en-US" altLang="en-US" sz="1400" smtClean="0">
                <a:effectLst/>
              </a:rPr>
              <a:pPr/>
              <a:t>1.9%</a:t>
            </a:fld>
            <a:endParaRPr lang="en-US" sz="1400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677150" y="1863725"/>
            <a:ext cx="403225" cy="192088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71539C-A51B-4B76-A4D8-E959F15A4856}" type="datetime'''''''''3''''''''''''''''.''''''''''''''''''''''5''''''''''%'">
              <a:rPr lang="en-US" altLang="en-US" sz="1400" smtClean="0">
                <a:solidFill>
                  <a:schemeClr val="bg1"/>
                </a:solidFill>
                <a:effectLst/>
              </a:rPr>
              <a:pPr/>
              <a:t>3.5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95" name="Rectangle 394">
            <a:extLst>
              <a:ext uri="{FF2B5EF4-FFF2-40B4-BE49-F238E27FC236}">
                <a16:creationId xmlns:a16="http://schemas.microsoft.com/office/drawing/2014/main" id="{57391670-30A4-EAC2-32E2-D9315693A9AC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0207625" y="21605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3" name="Rectangle 392">
            <a:extLst>
              <a:ext uri="{FF2B5EF4-FFF2-40B4-BE49-F238E27FC236}">
                <a16:creationId xmlns:a16="http://schemas.microsoft.com/office/drawing/2014/main" id="{8E7815A4-5393-807F-919E-046A6C31D741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0207625" y="1652588"/>
            <a:ext cx="250825" cy="187325"/>
          </a:xfrm>
          <a:prstGeom prst="rect">
            <a:avLst/>
          </a:prstGeom>
          <a:solidFill>
            <a:srgbClr val="C30C3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2" name="Rectangle 391">
            <a:extLst>
              <a:ext uri="{FF2B5EF4-FFF2-40B4-BE49-F238E27FC236}">
                <a16:creationId xmlns:a16="http://schemas.microsoft.com/office/drawing/2014/main" id="{AC2C9A98-FE6C-C979-12CC-1FDE567E04C6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0207625" y="1398588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6862160E-83C3-739C-81C9-3F8FCCDA48C6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0207625" y="190658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7E6EDAA4-3319-9A94-5A27-347D4BF81F7F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0207625" y="24145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8F139A8E-8B69-16D8-FF4D-4485EEEA81BF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0207625" y="26685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8" name="Text Placeholder 2">
            <a:extLst>
              <a:ext uri="{FF2B5EF4-FFF2-40B4-BE49-F238E27FC236}">
                <a16:creationId xmlns:a16="http://schemas.microsoft.com/office/drawing/2014/main" id="{E5A7DB12-3395-5216-4A11-B585E10FA73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0509250" y="1409700"/>
            <a:ext cx="1181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C6297A7-9F89-415F-B56E-17CCBDFF9F8D}" type="datetime'''''''''''Hy''''''''''''-''V''''e''''e ='' 4''''''9,051'''">
              <a:rPr lang="en-US" altLang="en-US" sz="1400" smtClean="0"/>
              <a:pPr/>
              <a:t>Hy-Vee = 49,051</a:t>
            </a:fld>
            <a:endParaRPr lang="en-US" sz="1400" dirty="0"/>
          </a:p>
        </p:txBody>
      </p:sp>
      <p:sp>
        <p:nvSpPr>
          <p:cNvPr id="399" name="Text Placeholder 2">
            <a:extLst>
              <a:ext uri="{FF2B5EF4-FFF2-40B4-BE49-F238E27FC236}">
                <a16:creationId xmlns:a16="http://schemas.microsoft.com/office/drawing/2014/main" id="{733610BC-6B23-F9CC-4330-A6823B338323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509249" y="2425700"/>
            <a:ext cx="1233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72D022-6A5B-434E-8AA3-D4C31C3BEEE5}" type="datetime'''''K''le''''e''''''n''''''''''''ex'' = ''''16'''''',5''''79'">
              <a:rPr lang="en-US" altLang="en-US" sz="1400" smtClean="0"/>
              <a:pPr/>
              <a:t>Kleenex = 16,579</a:t>
            </a:fld>
            <a:endParaRPr lang="en-US" sz="1400" dirty="0"/>
          </a:p>
        </p:txBody>
      </p:sp>
      <p:sp>
        <p:nvSpPr>
          <p:cNvPr id="400" name="Text Placeholder 2">
            <a:extLst>
              <a:ext uri="{FF2B5EF4-FFF2-40B4-BE49-F238E27FC236}">
                <a16:creationId xmlns:a16="http://schemas.microsoft.com/office/drawing/2014/main" id="{AB50C9EA-4642-5032-439C-1E2473352DFB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509250" y="1663700"/>
            <a:ext cx="1717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1D7BAE1-D44C-41A3-8981-A9620ABF8D63}" type="datetime'Ben'''' ''an''d J''e''''r''''rys ''''''='' 3''5,93''''''''''7'">
              <a:rPr lang="en-US" altLang="en-US" sz="1400" smtClean="0"/>
              <a:pPr/>
              <a:t>Ben and Jerrys = 35,937</a:t>
            </a:fld>
            <a:endParaRPr lang="en-US" sz="1400" dirty="0"/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DB2D3D2D-474F-2B4D-7F97-9D3614C3D2D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509250" y="1917700"/>
            <a:ext cx="1101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17AD38-DB38-4196-83C6-51381B75F6A8}" type="datetime'''''Kro''g''''''er''='''''' ''''''''''''''26,9''''''5''''8'''">
              <a:rPr lang="en-US" altLang="en-US" sz="1400" smtClean="0"/>
              <a:pPr/>
              <a:t>Kroger= 26,958</a:t>
            </a:fld>
            <a:endParaRPr lang="en-US" sz="1400" dirty="0"/>
          </a:p>
        </p:txBody>
      </p:sp>
      <p:sp>
        <p:nvSpPr>
          <p:cNvPr id="401" name="Text Placeholder 2">
            <a:extLst>
              <a:ext uri="{FF2B5EF4-FFF2-40B4-BE49-F238E27FC236}">
                <a16:creationId xmlns:a16="http://schemas.microsoft.com/office/drawing/2014/main" id="{F6D3763C-E73F-53EA-3E70-A969BECD188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509250" y="2171700"/>
            <a:ext cx="10461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AFC479-DF8A-40F2-B307-B33D6A25EEA4}" type="datetime'''''''''P''''''e''''p''''''s''i ='''' ''''''1''''''9,''901'''">
              <a:rPr lang="en-US" altLang="en-US" sz="1400" smtClean="0"/>
              <a:pPr/>
              <a:t>Pepsi = 19,901</a:t>
            </a:fld>
            <a:endParaRPr lang="en-US" sz="1400" dirty="0"/>
          </a:p>
        </p:txBody>
      </p:sp>
      <p:sp>
        <p:nvSpPr>
          <p:cNvPr id="403" name="Text Placeholder 2">
            <a:extLst>
              <a:ext uri="{FF2B5EF4-FFF2-40B4-BE49-F238E27FC236}">
                <a16:creationId xmlns:a16="http://schemas.microsoft.com/office/drawing/2014/main" id="{2484883C-2B53-61DE-19E9-9F79FE26089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0509250" y="2679700"/>
            <a:ext cx="19415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B9CC4FA-680F-43DD-80DC-482A95BEA078}" type="datetime'A''l''''''''l Ot''''h''''er B''''ran''d''s'' ='''' 892,''514'">
              <a:rPr lang="en-US" altLang="en-US" sz="1400" smtClean="0"/>
              <a:pPr/>
              <a:t>All Other Brands = 892,514</a:t>
            </a:fld>
            <a:endParaRPr lang="en-US" sz="1400" dirty="0"/>
          </a:p>
        </p:txBody>
      </p:sp>
      <p:sp>
        <p:nvSpPr>
          <p:cNvPr id="438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943850" y="2870200"/>
            <a:ext cx="7350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5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5F56D3-AEF5-414F-9625-5F28ABC61ADE}" type="datetime'''1'',''''''0''''''''''''4''0'''''',9''''''4''''''0'">
              <a:rPr lang="en-US" altLang="en-US" sz="1400" smtClean="0"/>
              <a:pPr/>
              <a:t>1,040,940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8492665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7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3BSJ0qPfgP9ssWUlGGg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L9gK2CGfz0AdCUjf4m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MWXFqip47olUXXBef4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PJ2BK_KDRRTG8YJTFUt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xyhVvpj08rEHZ6v406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0yUYwIhwPZ6g0leqCnY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eVToyh_ePbZi7KkG5Z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v0Nn1riYpa_OJ3EtKKG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WMyF0DecPPTK46Oiub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5CvW_zle8fF_ZRmVF2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NqyGvHEuy8wY.kgnWK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E1tDnQd7FxTbiKg7kkZ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n1E3o3AIWKRuquQTi6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zHm11SF1GSy_p9zIwQr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230LI.fgbdLzvwwPEI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cb0WNgJh.Mw4Q8FVoyc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DDi9IDWQreswKEvcZY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JcEFCa6e7KuRyAfU_cA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lWqP_vcr_1JxIJPsGQ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nhjOCVIFBxw9bDKZpR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WWr8mFN1chtnoM3DEzm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NdLW.GKmbF52DfGrZ6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cJPBJFyGOnLM882Cql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6NrAQs5.3SrAlaGyQ2e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2huZE1X3hTNlTquLou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0Wa370kvC7mhaqHRWxS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QTRZBMhBlx.YnNxVJ5m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btF2DiWlum5XAm1lrLr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FMaHwx7JgUa4ExRctXU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EN0B4nhTwuG_g76ucf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titBtc4Mb_KOaMXFH5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pbIxDvGOiqAf9e9RQK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6Lm6qFyriJXzewWg3n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GUlLZiStFrEkbqz0bG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dp4kr9uW4qgtud3QnU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ZQMxaGn4vAn9QzbiuT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M1bSm56yWwcBVqMHEtD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1</TotalTime>
  <Words>60</Words>
  <Application>Microsoft Office PowerPoint</Application>
  <PresentationFormat>Widescreen</PresentationFormat>
  <Paragraphs>2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lvyn Yovany Martinez Barahona</dc:creator>
  <cp:lastModifiedBy>Selvyn Yovany Martinez Barahona</cp:lastModifiedBy>
  <cp:revision>1</cp:revision>
  <dcterms:created xsi:type="dcterms:W3CDTF">2022-11-07T06:15:48Z</dcterms:created>
  <dcterms:modified xsi:type="dcterms:W3CDTF">2022-11-18T03:44:14Z</dcterms:modified>
</cp:coreProperties>
</file>